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50"/>
  </p:notesMasterIdLst>
  <p:handoutMasterIdLst>
    <p:handoutMasterId r:id="rId51"/>
  </p:handoutMasterIdLst>
  <p:sldIdLst>
    <p:sldId id="256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5" r:id="rId13"/>
    <p:sldId id="266" r:id="rId14"/>
    <p:sldId id="267" r:id="rId15"/>
    <p:sldId id="268" r:id="rId16"/>
    <p:sldId id="277" r:id="rId17"/>
    <p:sldId id="269" r:id="rId18"/>
    <p:sldId id="270" r:id="rId19"/>
    <p:sldId id="271" r:id="rId20"/>
    <p:sldId id="272" r:id="rId21"/>
    <p:sldId id="273" r:id="rId22"/>
    <p:sldId id="275" r:id="rId23"/>
    <p:sldId id="276" r:id="rId24"/>
    <p:sldId id="278" r:id="rId25"/>
    <p:sldId id="279" r:id="rId26"/>
    <p:sldId id="280" r:id="rId27"/>
    <p:sldId id="281" r:id="rId28"/>
    <p:sldId id="283" r:id="rId29"/>
    <p:sldId id="284" r:id="rId30"/>
    <p:sldId id="285" r:id="rId31"/>
    <p:sldId id="286" r:id="rId32"/>
    <p:sldId id="287" r:id="rId33"/>
    <p:sldId id="288" r:id="rId34"/>
    <p:sldId id="290" r:id="rId35"/>
    <p:sldId id="289" r:id="rId36"/>
    <p:sldId id="291" r:id="rId37"/>
    <p:sldId id="292" r:id="rId38"/>
    <p:sldId id="293" r:id="rId39"/>
    <p:sldId id="294" r:id="rId40"/>
    <p:sldId id="295" r:id="rId41"/>
    <p:sldId id="296" r:id="rId42"/>
    <p:sldId id="297" r:id="rId43"/>
    <p:sldId id="2134960454" r:id="rId44"/>
    <p:sldId id="2134960455" r:id="rId45"/>
    <p:sldId id="2134960456" r:id="rId46"/>
    <p:sldId id="2134960457" r:id="rId47"/>
    <p:sldId id="2134960458" r:id="rId48"/>
    <p:sldId id="2134960459" r:id="rId49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AB3"/>
    <a:srgbClr val="949494"/>
    <a:srgbClr val="313131"/>
    <a:srgbClr val="FFCF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CFC4488-19C7-FD48-91FE-947D468CEA10}" v="18" dt="2023-06-21T07:42:03.740"/>
    <p1510:client id="{88AD0457-1AE2-9649-BA8F-E27C418A040B}" v="207" dt="2023-06-20T17:16:09.342"/>
    <p1510:client id="{A67D18D1-695B-494D-945D-915E6420A89F}" v="11" dt="2023-06-21T07:37:53.21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>
      <p:cViewPr varScale="1">
        <p:scale>
          <a:sx n="121" d="100"/>
          <a:sy n="121" d="100"/>
        </p:scale>
        <p:origin x="744" y="1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notesMaster" Target="notesMasters/notesMaster1.xml"/><Relationship Id="rId55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viewProps" Target="viewProps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microsoft.com/office/2016/11/relationships/changesInfo" Target="changesInfos/changesInfo1.xml"/><Relationship Id="rId8" Type="http://schemas.openxmlformats.org/officeDocument/2006/relationships/slide" Target="slides/slide4.xml"/><Relationship Id="rId51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microsoft.com/office/2015/10/relationships/revisionInfo" Target="revisionInfo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a Okkonen" userId="S::maria.okkonen@nhg.fi::82317972-80c2-4234-9267-aede1d7ed62e" providerId="AD" clId="Web-{A67D18D1-695B-494D-945D-915E6420A89F}"/>
    <pc:docChg chg="modSld">
      <pc:chgData name="Maria Okkonen" userId="S::maria.okkonen@nhg.fi::82317972-80c2-4234-9267-aede1d7ed62e" providerId="AD" clId="Web-{A67D18D1-695B-494D-945D-915E6420A89F}" dt="2023-06-21T07:37:53.210" v="10" actId="1076"/>
      <pc:docMkLst>
        <pc:docMk/>
      </pc:docMkLst>
      <pc:sldChg chg="modSp">
        <pc:chgData name="Maria Okkonen" userId="S::maria.okkonen@nhg.fi::82317972-80c2-4234-9267-aede1d7ed62e" providerId="AD" clId="Web-{A67D18D1-695B-494D-945D-915E6420A89F}" dt="2023-06-21T07:35:45.192" v="2" actId="20577"/>
        <pc:sldMkLst>
          <pc:docMk/>
          <pc:sldMk cId="2686761093" sldId="257"/>
        </pc:sldMkLst>
        <pc:spChg chg="mod">
          <ac:chgData name="Maria Okkonen" userId="S::maria.okkonen@nhg.fi::82317972-80c2-4234-9267-aede1d7ed62e" providerId="AD" clId="Web-{A67D18D1-695B-494D-945D-915E6420A89F}" dt="2023-06-21T07:35:45.192" v="2" actId="20577"/>
          <ac:spMkLst>
            <pc:docMk/>
            <pc:sldMk cId="2686761093" sldId="257"/>
            <ac:spMk id="7" creationId="{7344CBAB-77E1-A6D5-3CAB-489149B36257}"/>
          </ac:spMkLst>
        </pc:spChg>
      </pc:sldChg>
      <pc:sldChg chg="modSp">
        <pc:chgData name="Maria Okkonen" userId="S::maria.okkonen@nhg.fi::82317972-80c2-4234-9267-aede1d7ed62e" providerId="AD" clId="Web-{A67D18D1-695B-494D-945D-915E6420A89F}" dt="2023-06-21T07:37:30.007" v="7" actId="20577"/>
        <pc:sldMkLst>
          <pc:docMk/>
          <pc:sldMk cId="48520347" sldId="258"/>
        </pc:sldMkLst>
        <pc:spChg chg="mod">
          <ac:chgData name="Maria Okkonen" userId="S::maria.okkonen@nhg.fi::82317972-80c2-4234-9267-aede1d7ed62e" providerId="AD" clId="Web-{A67D18D1-695B-494D-945D-915E6420A89F}" dt="2023-06-21T07:37:30.007" v="7" actId="20577"/>
          <ac:spMkLst>
            <pc:docMk/>
            <pc:sldMk cId="48520347" sldId="258"/>
            <ac:spMk id="3" creationId="{874DE259-1340-0467-4638-1575B3A154E0}"/>
          </ac:spMkLst>
        </pc:spChg>
      </pc:sldChg>
      <pc:sldChg chg="modSp">
        <pc:chgData name="Maria Okkonen" userId="S::maria.okkonen@nhg.fi::82317972-80c2-4234-9267-aede1d7ed62e" providerId="AD" clId="Web-{A67D18D1-695B-494D-945D-915E6420A89F}" dt="2023-06-21T07:37:53.210" v="10" actId="1076"/>
        <pc:sldMkLst>
          <pc:docMk/>
          <pc:sldMk cId="2214010050" sldId="260"/>
        </pc:sldMkLst>
        <pc:spChg chg="mod">
          <ac:chgData name="Maria Okkonen" userId="S::maria.okkonen@nhg.fi::82317972-80c2-4234-9267-aede1d7ed62e" providerId="AD" clId="Web-{A67D18D1-695B-494D-945D-915E6420A89F}" dt="2023-06-21T07:37:53.210" v="10" actId="1076"/>
          <ac:spMkLst>
            <pc:docMk/>
            <pc:sldMk cId="2214010050" sldId="260"/>
            <ac:spMk id="37" creationId="{34F041B4-F568-BCCE-6CDE-A7411E262EEF}"/>
          </ac:spMkLst>
        </pc:spChg>
      </pc:sldChg>
    </pc:docChg>
  </pc:docChgLst>
  <pc:docChgLst>
    <pc:chgData name="Maria Okkonen" userId="82317972-80c2-4234-9267-aede1d7ed62e" providerId="ADAL" clId="{5CFC4488-19C7-FD48-91FE-947D468CEA10}"/>
    <pc:docChg chg="custSel modSld">
      <pc:chgData name="Maria Okkonen" userId="82317972-80c2-4234-9267-aede1d7ed62e" providerId="ADAL" clId="{5CFC4488-19C7-FD48-91FE-947D468CEA10}" dt="2023-06-21T07:42:03.740" v="13" actId="790"/>
      <pc:docMkLst>
        <pc:docMk/>
      </pc:docMkLst>
      <pc:sldChg chg="modSp mod">
        <pc:chgData name="Maria Okkonen" userId="82317972-80c2-4234-9267-aede1d7ed62e" providerId="ADAL" clId="{5CFC4488-19C7-FD48-91FE-947D468CEA10}" dt="2023-06-21T07:38:23.474" v="2" actId="1076"/>
        <pc:sldMkLst>
          <pc:docMk/>
          <pc:sldMk cId="2686761093" sldId="257"/>
        </pc:sldMkLst>
        <pc:spChg chg="mod">
          <ac:chgData name="Maria Okkonen" userId="82317972-80c2-4234-9267-aede1d7ed62e" providerId="ADAL" clId="{5CFC4488-19C7-FD48-91FE-947D468CEA10}" dt="2023-06-21T07:38:23.474" v="2" actId="1076"/>
          <ac:spMkLst>
            <pc:docMk/>
            <pc:sldMk cId="2686761093" sldId="257"/>
            <ac:spMk id="6" creationId="{6729CF75-AF83-1F6D-F9F3-E4BDA5A0A825}"/>
          </ac:spMkLst>
        </pc:spChg>
        <pc:spChg chg="mod">
          <ac:chgData name="Maria Okkonen" userId="82317972-80c2-4234-9267-aede1d7ed62e" providerId="ADAL" clId="{5CFC4488-19C7-FD48-91FE-947D468CEA10}" dt="2023-06-21T07:38:23.474" v="2" actId="1076"/>
          <ac:spMkLst>
            <pc:docMk/>
            <pc:sldMk cId="2686761093" sldId="257"/>
            <ac:spMk id="7" creationId="{7344CBAB-77E1-A6D5-3CAB-489149B36257}"/>
          </ac:spMkLst>
        </pc:spChg>
      </pc:sldChg>
      <pc:sldChg chg="modSp mod">
        <pc:chgData name="Maria Okkonen" userId="82317972-80c2-4234-9267-aede1d7ed62e" providerId="ADAL" clId="{5CFC4488-19C7-FD48-91FE-947D468CEA10}" dt="2023-06-21T07:38:36.636" v="5" actId="20577"/>
        <pc:sldMkLst>
          <pc:docMk/>
          <pc:sldMk cId="48520347" sldId="258"/>
        </pc:sldMkLst>
        <pc:spChg chg="mod">
          <ac:chgData name="Maria Okkonen" userId="82317972-80c2-4234-9267-aede1d7ed62e" providerId="ADAL" clId="{5CFC4488-19C7-FD48-91FE-947D468CEA10}" dt="2023-06-21T07:38:36.636" v="5" actId="20577"/>
          <ac:spMkLst>
            <pc:docMk/>
            <pc:sldMk cId="48520347" sldId="258"/>
            <ac:spMk id="3" creationId="{874DE259-1340-0467-4638-1575B3A154E0}"/>
          </ac:spMkLst>
        </pc:spChg>
      </pc:sldChg>
      <pc:sldChg chg="modSp mod">
        <pc:chgData name="Maria Okkonen" userId="82317972-80c2-4234-9267-aede1d7ed62e" providerId="ADAL" clId="{5CFC4488-19C7-FD48-91FE-947D468CEA10}" dt="2023-06-21T07:40:39.172" v="7"/>
        <pc:sldMkLst>
          <pc:docMk/>
          <pc:sldMk cId="3543373134" sldId="267"/>
        </pc:sldMkLst>
        <pc:spChg chg="mod">
          <ac:chgData name="Maria Okkonen" userId="82317972-80c2-4234-9267-aede1d7ed62e" providerId="ADAL" clId="{5CFC4488-19C7-FD48-91FE-947D468CEA10}" dt="2023-06-21T07:40:39.172" v="7"/>
          <ac:spMkLst>
            <pc:docMk/>
            <pc:sldMk cId="3543373134" sldId="267"/>
            <ac:spMk id="2" creationId="{AB36FF4F-F233-EBF7-B1C6-B784BA368835}"/>
          </ac:spMkLst>
        </pc:spChg>
      </pc:sldChg>
      <pc:sldChg chg="modSp mod">
        <pc:chgData name="Maria Okkonen" userId="82317972-80c2-4234-9267-aede1d7ed62e" providerId="ADAL" clId="{5CFC4488-19C7-FD48-91FE-947D468CEA10}" dt="2023-06-21T07:41:30.474" v="11" actId="1035"/>
        <pc:sldMkLst>
          <pc:docMk/>
          <pc:sldMk cId="1018781797" sldId="273"/>
        </pc:sldMkLst>
        <pc:spChg chg="mod">
          <ac:chgData name="Maria Okkonen" userId="82317972-80c2-4234-9267-aede1d7ed62e" providerId="ADAL" clId="{5CFC4488-19C7-FD48-91FE-947D468CEA10}" dt="2023-06-21T07:41:30.474" v="11" actId="1035"/>
          <ac:spMkLst>
            <pc:docMk/>
            <pc:sldMk cId="1018781797" sldId="273"/>
            <ac:spMk id="23" creationId="{AE5928B7-0047-7EE1-F4F0-541D3F6BE9FD}"/>
          </ac:spMkLst>
        </pc:spChg>
        <pc:spChg chg="mod">
          <ac:chgData name="Maria Okkonen" userId="82317972-80c2-4234-9267-aede1d7ed62e" providerId="ADAL" clId="{5CFC4488-19C7-FD48-91FE-947D468CEA10}" dt="2023-06-21T07:41:30.474" v="11" actId="1035"/>
          <ac:spMkLst>
            <pc:docMk/>
            <pc:sldMk cId="1018781797" sldId="273"/>
            <ac:spMk id="24" creationId="{522FCDBB-3EDD-6C07-E444-AA8A922E1F6E}"/>
          </ac:spMkLst>
        </pc:spChg>
      </pc:sldChg>
      <pc:sldChg chg="modSp mod">
        <pc:chgData name="Maria Okkonen" userId="82317972-80c2-4234-9267-aede1d7ed62e" providerId="ADAL" clId="{5CFC4488-19C7-FD48-91FE-947D468CEA10}" dt="2023-06-21T07:42:03.740" v="13" actId="790"/>
        <pc:sldMkLst>
          <pc:docMk/>
          <pc:sldMk cId="2257413394" sldId="279"/>
        </pc:sldMkLst>
        <pc:spChg chg="mod">
          <ac:chgData name="Maria Okkonen" userId="82317972-80c2-4234-9267-aede1d7ed62e" providerId="ADAL" clId="{5CFC4488-19C7-FD48-91FE-947D468CEA10}" dt="2023-06-21T07:42:03.740" v="13" actId="790"/>
          <ac:spMkLst>
            <pc:docMk/>
            <pc:sldMk cId="2257413394" sldId="279"/>
            <ac:spMk id="6" creationId="{65D0C910-E64B-253F-960E-1FC4DD078CFF}"/>
          </ac:spMkLst>
        </pc:spChg>
        <pc:spChg chg="mod">
          <ac:chgData name="Maria Okkonen" userId="82317972-80c2-4234-9267-aede1d7ed62e" providerId="ADAL" clId="{5CFC4488-19C7-FD48-91FE-947D468CEA10}" dt="2023-06-21T07:41:56.376" v="12" actId="790"/>
          <ac:spMkLst>
            <pc:docMk/>
            <pc:sldMk cId="2257413394" sldId="279"/>
            <ac:spMk id="7" creationId="{B8F0F6D7-34A2-7FCE-C3C9-CE6486AA4FF5}"/>
          </ac:spMkLst>
        </pc:spChg>
        <pc:spChg chg="mod">
          <ac:chgData name="Maria Okkonen" userId="82317972-80c2-4234-9267-aede1d7ed62e" providerId="ADAL" clId="{5CFC4488-19C7-FD48-91FE-947D468CEA10}" dt="2023-06-21T07:42:03.740" v="13" actId="790"/>
          <ac:spMkLst>
            <pc:docMk/>
            <pc:sldMk cId="2257413394" sldId="279"/>
            <ac:spMk id="8" creationId="{7153A8C6-7162-F72E-1AB7-314E4FC9DF82}"/>
          </ac:spMkLst>
        </pc:spChg>
        <pc:spChg chg="mod">
          <ac:chgData name="Maria Okkonen" userId="82317972-80c2-4234-9267-aede1d7ed62e" providerId="ADAL" clId="{5CFC4488-19C7-FD48-91FE-947D468CEA10}" dt="2023-06-21T07:42:03.740" v="13" actId="790"/>
          <ac:spMkLst>
            <pc:docMk/>
            <pc:sldMk cId="2257413394" sldId="279"/>
            <ac:spMk id="9" creationId="{A0DD81D6-59B4-4F64-EAAD-02B590329E1A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>
            <a:extLst>
              <a:ext uri="{FF2B5EF4-FFF2-40B4-BE49-F238E27FC236}">
                <a16:creationId xmlns:a16="http://schemas.microsoft.com/office/drawing/2014/main" id="{BF5593B5-F7CD-E700-580A-7ABEE56016E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10263939-A1AA-F4F3-3B18-412081BF7EE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C7C690-B871-48EB-9C66-F00299C39607}" type="datetimeFigureOut">
              <a:rPr lang="fi-FI" smtClean="0"/>
              <a:t>21.6.2023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36FD635E-DBC5-C339-09F8-AE6A165D02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F6E03890-E3BA-DA25-2A94-96734D288E8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2E1BEC-926F-4EB4-BC4C-B9A0570445E4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812110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D2F6BC-C3AC-471B-A838-B70FD4272352}" type="datetimeFigureOut">
              <a:rPr lang="fi-FI" smtClean="0"/>
              <a:t>21.6.2023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2AD96A-2756-48D5-983B-63C214F5767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809088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A64E3C18-FA14-4185-BE65-FDB45FD88D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437179"/>
            <a:ext cx="5355982" cy="2468071"/>
          </a:xfrm>
        </p:spPr>
        <p:txBody>
          <a:bodyPr anchor="t" anchorCtr="0">
            <a:normAutofit/>
          </a:bodyPr>
          <a:lstStyle>
            <a:lvl1pPr algn="ctr">
              <a:defRPr sz="4000" spc="-50" baseline="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433C471F-8838-4C25-8EB0-AD6B71B38A6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4329873"/>
            <a:ext cx="5355982" cy="1217735"/>
          </a:xfrm>
        </p:spPr>
        <p:txBody>
          <a:bodyPr/>
          <a:lstStyle>
            <a:lvl1pPr marL="0" indent="0" algn="ctr">
              <a:buNone/>
              <a:defRPr sz="2200" spc="-2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E43FE4-FB6C-45D5-BED5-AFA0DAE40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‹#›</a:t>
            </a:fld>
            <a:endParaRPr lang="fi-FI"/>
          </a:p>
        </p:txBody>
      </p:sp>
      <p:grpSp>
        <p:nvGrpSpPr>
          <p:cNvPr id="4" name="Ryhmä 3">
            <a:extLst>
              <a:ext uri="{FF2B5EF4-FFF2-40B4-BE49-F238E27FC236}">
                <a16:creationId xmlns:a16="http://schemas.microsoft.com/office/drawing/2014/main" id="{1C416909-AB75-EC03-9BFB-30CD779A3B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511863" y="1519367"/>
            <a:ext cx="3839687" cy="3817528"/>
            <a:chOff x="1511863" y="1519367"/>
            <a:chExt cx="3839687" cy="381752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046FE190-C127-4DF1-9753-943E4F4D15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1863" y="1519367"/>
              <a:ext cx="2113955" cy="3817528"/>
            </a:xfrm>
            <a:custGeom>
              <a:avLst/>
              <a:gdLst>
                <a:gd name="T0" fmla="*/ 81 w 11800"/>
                <a:gd name="T1" fmla="*/ 0 h 21307"/>
                <a:gd name="T2" fmla="*/ 14 w 11800"/>
                <a:gd name="T3" fmla="*/ 15382 h 21307"/>
                <a:gd name="T4" fmla="*/ 5874 w 11800"/>
                <a:gd name="T5" fmla="*/ 21293 h 21307"/>
                <a:gd name="T6" fmla="*/ 11785 w 11800"/>
                <a:gd name="T7" fmla="*/ 15434 h 21307"/>
                <a:gd name="T8" fmla="*/ 11785 w 11800"/>
                <a:gd name="T9" fmla="*/ 15433 h 21307"/>
                <a:gd name="T10" fmla="*/ 11800 w 11800"/>
                <a:gd name="T11" fmla="*/ 11822 h 21307"/>
                <a:gd name="T12" fmla="*/ 81 w 11800"/>
                <a:gd name="T13" fmla="*/ 0 h 21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800" h="21307">
                  <a:moveTo>
                    <a:pt x="81" y="0"/>
                  </a:moveTo>
                  <a:lnTo>
                    <a:pt x="14" y="15382"/>
                  </a:lnTo>
                  <a:cubicBezTo>
                    <a:pt x="0" y="18633"/>
                    <a:pt x="2623" y="21279"/>
                    <a:pt x="5874" y="21293"/>
                  </a:cubicBezTo>
                  <a:cubicBezTo>
                    <a:pt x="9124" y="21307"/>
                    <a:pt x="11771" y="18684"/>
                    <a:pt x="11785" y="15434"/>
                  </a:cubicBezTo>
                  <a:lnTo>
                    <a:pt x="11785" y="15433"/>
                  </a:lnTo>
                  <a:lnTo>
                    <a:pt x="11800" y="11822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BA2F6220-49B1-4E5F-B84B-BD29EA985B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26044" y="1519367"/>
              <a:ext cx="3825506" cy="2123705"/>
            </a:xfrm>
            <a:custGeom>
              <a:avLst/>
              <a:gdLst>
                <a:gd name="T0" fmla="*/ 11719 w 21350"/>
                <a:gd name="T1" fmla="*/ 11822 h 11852"/>
                <a:gd name="T2" fmla="*/ 15425 w 21350"/>
                <a:gd name="T3" fmla="*/ 11838 h 11852"/>
                <a:gd name="T4" fmla="*/ 21336 w 21350"/>
                <a:gd name="T5" fmla="*/ 5979 h 11852"/>
                <a:gd name="T6" fmla="*/ 15477 w 21350"/>
                <a:gd name="T7" fmla="*/ 68 h 11852"/>
                <a:gd name="T8" fmla="*/ 0 w 21350"/>
                <a:gd name="T9" fmla="*/ 0 h 11852"/>
                <a:gd name="T10" fmla="*/ 11719 w 21350"/>
                <a:gd name="T11" fmla="*/ 11822 h 11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350" h="11852">
                  <a:moveTo>
                    <a:pt x="11719" y="11822"/>
                  </a:moveTo>
                  <a:lnTo>
                    <a:pt x="15425" y="11838"/>
                  </a:lnTo>
                  <a:cubicBezTo>
                    <a:pt x="18676" y="11852"/>
                    <a:pt x="21322" y="9229"/>
                    <a:pt x="21336" y="5979"/>
                  </a:cubicBezTo>
                  <a:cubicBezTo>
                    <a:pt x="21350" y="2728"/>
                    <a:pt x="18727" y="82"/>
                    <a:pt x="15477" y="68"/>
                  </a:cubicBezTo>
                  <a:cubicBezTo>
                    <a:pt x="15477" y="68"/>
                    <a:pt x="0" y="0"/>
                    <a:pt x="0" y="0"/>
                  </a:cubicBezTo>
                  <a:lnTo>
                    <a:pt x="11719" y="11822"/>
                  </a:lnTo>
                  <a:close/>
                </a:path>
              </a:pathLst>
            </a:custGeom>
            <a:solidFill>
              <a:srgbClr val="FFCF2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090706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A7EB6BE-E09D-4391-BB19-9AB34E85D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2741" y="882869"/>
            <a:ext cx="4599785" cy="1472950"/>
          </a:xfrm>
        </p:spPr>
        <p:txBody>
          <a:bodyPr/>
          <a:lstStyle>
            <a:lvl1pPr>
              <a:defRPr sz="30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EA7A06A4-1BF6-41E8-89FB-D111961A8A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02741" y="2702660"/>
            <a:ext cx="4599785" cy="347430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8" name="Sisällön paikkamerkki 10">
            <a:extLst>
              <a:ext uri="{FF2B5EF4-FFF2-40B4-BE49-F238E27FC236}">
                <a16:creationId xmlns:a16="http://schemas.microsoft.com/office/drawing/2014/main" id="{94BD04BF-8B83-4AEE-93A3-6E60A99E214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30098" y="869950"/>
            <a:ext cx="4916480" cy="5319713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0177F-D1AE-4D79-BFFE-C2705DAEA0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79902-CAD0-49B3-A6AE-B1BB883B1100}" type="datetime1">
              <a:rPr lang="fi-FI" smtClean="0"/>
              <a:t>21.6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D388A3-F45C-4855-8B64-52B1BF9A5B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221093-58DE-4EB6-89DB-B88D32F62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319373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A7EB6BE-E09D-4391-BB19-9AB34E85D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8" name="Tekstin paikkamerkki 7">
            <a:extLst>
              <a:ext uri="{FF2B5EF4-FFF2-40B4-BE49-F238E27FC236}">
                <a16:creationId xmlns:a16="http://schemas.microsoft.com/office/drawing/2014/main" id="{4D5A2EE8-260A-4FDA-81CA-7C2F5EFD32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0275" y="2479675"/>
            <a:ext cx="8578850" cy="36972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0177F-D1AE-4D79-BFFE-C2705DAEA0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38F7C9-EEBB-492A-B364-975711C867BE}" type="datetime1">
              <a:rPr lang="fi-FI" smtClean="0"/>
              <a:t>21.6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D388A3-F45C-4855-8B64-52B1BF9A5B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221093-58DE-4EB6-89DB-B88D32F62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437495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A7EB6BE-E09D-4391-BB19-9AB34E85D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EA7A06A4-1BF6-41E8-89FB-D111961A8A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5173" y="2479431"/>
            <a:ext cx="4996175" cy="3697531"/>
          </a:xfrm>
        </p:spPr>
        <p:txBody>
          <a:bodyPr/>
          <a:lstStyle>
            <a:lvl1pPr>
              <a:lnSpc>
                <a:spcPct val="105000"/>
              </a:lnSpc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9" name="Sisällön paikkamerkki 2">
            <a:extLst>
              <a:ext uri="{FF2B5EF4-FFF2-40B4-BE49-F238E27FC236}">
                <a16:creationId xmlns:a16="http://schemas.microsoft.com/office/drawing/2014/main" id="{867F28D2-6F27-4100-9CAC-2D84C5CB7C6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55900" y="2479431"/>
            <a:ext cx="4996175" cy="3697531"/>
          </a:xfrm>
        </p:spPr>
        <p:txBody>
          <a:bodyPr/>
          <a:lstStyle>
            <a:lvl1pPr>
              <a:lnSpc>
                <a:spcPct val="105000"/>
              </a:lnSpc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0177F-D1AE-4D79-BFFE-C2705DAEA0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6EEE6-B03E-4C6D-82CB-6967E10C974D}" type="datetime1">
              <a:rPr lang="fi-FI" smtClean="0"/>
              <a:t>21.6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D388A3-F45C-4855-8B64-52B1BF9A5B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221093-58DE-4EB6-89DB-B88D32F62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58546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A7EB6BE-E09D-4391-BB19-9AB34E85D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5173" y="882869"/>
            <a:ext cx="4526870" cy="1472950"/>
          </a:xfrm>
        </p:spPr>
        <p:txBody>
          <a:bodyPr/>
          <a:lstStyle>
            <a:lvl1pPr>
              <a:defRPr sz="27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EA7A06A4-1BF6-41E8-89FB-D111961A8A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5173" y="2702660"/>
            <a:ext cx="4526870" cy="347430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1" name="Sisällön paikkamerkki 10">
            <a:extLst>
              <a:ext uri="{FF2B5EF4-FFF2-40B4-BE49-F238E27FC236}">
                <a16:creationId xmlns:a16="http://schemas.microsoft.com/office/drawing/2014/main" id="{7003FAD7-ACA6-4D45-A7F3-A3802FD3E09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83339" y="869950"/>
            <a:ext cx="4916480" cy="5319713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0177F-D1AE-4D79-BFFE-C2705DAEA0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DBCA1-6718-470C-94D7-D1B1CBCC0428}" type="datetime1">
              <a:rPr lang="fi-FI" smtClean="0"/>
              <a:t>21.6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D388A3-F45C-4855-8B64-52B1BF9A5B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221093-58DE-4EB6-89DB-B88D32F62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900660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eksti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A7EB6BE-E09D-4391-BB19-9AB34E85D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5173" y="882869"/>
            <a:ext cx="4455643" cy="1472950"/>
          </a:xfrm>
        </p:spPr>
        <p:txBody>
          <a:bodyPr/>
          <a:lstStyle>
            <a:lvl1pPr>
              <a:defRPr sz="27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EA7A06A4-1BF6-41E8-89FB-D111961A8A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5173" y="2702660"/>
            <a:ext cx="4455643" cy="347430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9" name="Kuvan paikkamerkki 2">
            <a:extLst>
              <a:ext uri="{FF2B5EF4-FFF2-40B4-BE49-F238E27FC236}">
                <a16:creationId xmlns:a16="http://schemas.microsoft.com/office/drawing/2014/main" id="{03704D70-526C-45EA-9AEC-6CBFEB88E602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397499" y="948923"/>
            <a:ext cx="6794501" cy="4960894"/>
          </a:xfrm>
          <a:custGeom>
            <a:avLst/>
            <a:gdLst>
              <a:gd name="connsiteX0" fmla="*/ 0 w 6791184"/>
              <a:gd name="connsiteY0" fmla="*/ 0 h 4959382"/>
              <a:gd name="connsiteX1" fmla="*/ 6791184 w 6791184"/>
              <a:gd name="connsiteY1" fmla="*/ 0 h 4959382"/>
              <a:gd name="connsiteX2" fmla="*/ 6791184 w 6791184"/>
              <a:gd name="connsiteY2" fmla="*/ 4959382 h 4959382"/>
              <a:gd name="connsiteX3" fmla="*/ 0 w 6791184"/>
              <a:gd name="connsiteY3" fmla="*/ 4959382 h 4959382"/>
              <a:gd name="connsiteX4" fmla="*/ 0 w 6791184"/>
              <a:gd name="connsiteY4" fmla="*/ 0 h 4959382"/>
              <a:gd name="connsiteX0" fmla="*/ 0 w 6791184"/>
              <a:gd name="connsiteY0" fmla="*/ 1110 h 4960492"/>
              <a:gd name="connsiteX1" fmla="*/ 2530334 w 6791184"/>
              <a:gd name="connsiteY1" fmla="*/ 0 h 4960492"/>
              <a:gd name="connsiteX2" fmla="*/ 6791184 w 6791184"/>
              <a:gd name="connsiteY2" fmla="*/ 1110 h 4960492"/>
              <a:gd name="connsiteX3" fmla="*/ 6791184 w 6791184"/>
              <a:gd name="connsiteY3" fmla="*/ 4960492 h 4960492"/>
              <a:gd name="connsiteX4" fmla="*/ 0 w 6791184"/>
              <a:gd name="connsiteY4" fmla="*/ 4960492 h 4960492"/>
              <a:gd name="connsiteX5" fmla="*/ 0 w 6791184"/>
              <a:gd name="connsiteY5" fmla="*/ 1110 h 4960492"/>
              <a:gd name="connsiteX0" fmla="*/ 0 w 6791184"/>
              <a:gd name="connsiteY0" fmla="*/ 1110 h 4960492"/>
              <a:gd name="connsiteX1" fmla="*/ 2530334 w 6791184"/>
              <a:gd name="connsiteY1" fmla="*/ 0 h 4960492"/>
              <a:gd name="connsiteX2" fmla="*/ 6791184 w 6791184"/>
              <a:gd name="connsiteY2" fmla="*/ 1110 h 4960492"/>
              <a:gd name="connsiteX3" fmla="*/ 6791184 w 6791184"/>
              <a:gd name="connsiteY3" fmla="*/ 4960492 h 4960492"/>
              <a:gd name="connsiteX4" fmla="*/ 2450959 w 6791184"/>
              <a:gd name="connsiteY4" fmla="*/ 4956175 h 4960492"/>
              <a:gd name="connsiteX5" fmla="*/ 0 w 6791184"/>
              <a:gd name="connsiteY5" fmla="*/ 4960492 h 4960492"/>
              <a:gd name="connsiteX6" fmla="*/ 0 w 6791184"/>
              <a:gd name="connsiteY6" fmla="*/ 1110 h 4960492"/>
              <a:gd name="connsiteX0" fmla="*/ 3316 w 6794500"/>
              <a:gd name="connsiteY0" fmla="*/ 1110 h 4960492"/>
              <a:gd name="connsiteX1" fmla="*/ 2533650 w 6794500"/>
              <a:gd name="connsiteY1" fmla="*/ 0 h 4960492"/>
              <a:gd name="connsiteX2" fmla="*/ 6794500 w 6794500"/>
              <a:gd name="connsiteY2" fmla="*/ 1110 h 4960492"/>
              <a:gd name="connsiteX3" fmla="*/ 6794500 w 6794500"/>
              <a:gd name="connsiteY3" fmla="*/ 4960492 h 4960492"/>
              <a:gd name="connsiteX4" fmla="*/ 2454275 w 6794500"/>
              <a:gd name="connsiteY4" fmla="*/ 4956175 h 4960492"/>
              <a:gd name="connsiteX5" fmla="*/ 3316 w 6794500"/>
              <a:gd name="connsiteY5" fmla="*/ 4960492 h 4960492"/>
              <a:gd name="connsiteX6" fmla="*/ 0 w 6794500"/>
              <a:gd name="connsiteY6" fmla="*/ 2476500 h 4960492"/>
              <a:gd name="connsiteX7" fmla="*/ 3316 w 6794500"/>
              <a:gd name="connsiteY7" fmla="*/ 1110 h 4960492"/>
              <a:gd name="connsiteX0" fmla="*/ 0 w 6794500"/>
              <a:gd name="connsiteY0" fmla="*/ 2476500 h 4960492"/>
              <a:gd name="connsiteX1" fmla="*/ 2533650 w 6794500"/>
              <a:gd name="connsiteY1" fmla="*/ 0 h 4960492"/>
              <a:gd name="connsiteX2" fmla="*/ 6794500 w 6794500"/>
              <a:gd name="connsiteY2" fmla="*/ 1110 h 4960492"/>
              <a:gd name="connsiteX3" fmla="*/ 6794500 w 6794500"/>
              <a:gd name="connsiteY3" fmla="*/ 4960492 h 4960492"/>
              <a:gd name="connsiteX4" fmla="*/ 2454275 w 6794500"/>
              <a:gd name="connsiteY4" fmla="*/ 4956175 h 4960492"/>
              <a:gd name="connsiteX5" fmla="*/ 3316 w 6794500"/>
              <a:gd name="connsiteY5" fmla="*/ 4960492 h 4960492"/>
              <a:gd name="connsiteX6" fmla="*/ 0 w 6794500"/>
              <a:gd name="connsiteY6" fmla="*/ 2476500 h 4960492"/>
              <a:gd name="connsiteX0" fmla="*/ 0 w 6794500"/>
              <a:gd name="connsiteY0" fmla="*/ 2476500 h 4960492"/>
              <a:gd name="connsiteX1" fmla="*/ 2533650 w 6794500"/>
              <a:gd name="connsiteY1" fmla="*/ 0 h 4960492"/>
              <a:gd name="connsiteX2" fmla="*/ 6794500 w 6794500"/>
              <a:gd name="connsiteY2" fmla="*/ 1110 h 4960492"/>
              <a:gd name="connsiteX3" fmla="*/ 6794500 w 6794500"/>
              <a:gd name="connsiteY3" fmla="*/ 4960492 h 4960492"/>
              <a:gd name="connsiteX4" fmla="*/ 2454275 w 6794500"/>
              <a:gd name="connsiteY4" fmla="*/ 4956175 h 4960492"/>
              <a:gd name="connsiteX5" fmla="*/ 0 w 6794500"/>
              <a:gd name="connsiteY5" fmla="*/ 2476500 h 4960492"/>
              <a:gd name="connsiteX0" fmla="*/ 0 w 6794500"/>
              <a:gd name="connsiteY0" fmla="*/ 2476500 h 4960492"/>
              <a:gd name="connsiteX1" fmla="*/ 2533650 w 6794500"/>
              <a:gd name="connsiteY1" fmla="*/ 0 h 4960492"/>
              <a:gd name="connsiteX2" fmla="*/ 6794500 w 6794500"/>
              <a:gd name="connsiteY2" fmla="*/ 1110 h 4960492"/>
              <a:gd name="connsiteX3" fmla="*/ 6794500 w 6794500"/>
              <a:gd name="connsiteY3" fmla="*/ 4960492 h 4960492"/>
              <a:gd name="connsiteX4" fmla="*/ 2454275 w 6794500"/>
              <a:gd name="connsiteY4" fmla="*/ 4956175 h 4960492"/>
              <a:gd name="connsiteX5" fmla="*/ 0 w 6794500"/>
              <a:gd name="connsiteY5" fmla="*/ 2476500 h 4960492"/>
              <a:gd name="connsiteX0" fmla="*/ 0 w 6794500"/>
              <a:gd name="connsiteY0" fmla="*/ 2476500 h 4960492"/>
              <a:gd name="connsiteX1" fmla="*/ 2533650 w 6794500"/>
              <a:gd name="connsiteY1" fmla="*/ 0 h 4960492"/>
              <a:gd name="connsiteX2" fmla="*/ 6794500 w 6794500"/>
              <a:gd name="connsiteY2" fmla="*/ 1110 h 4960492"/>
              <a:gd name="connsiteX3" fmla="*/ 6794500 w 6794500"/>
              <a:gd name="connsiteY3" fmla="*/ 4960492 h 4960492"/>
              <a:gd name="connsiteX4" fmla="*/ 2454275 w 6794500"/>
              <a:gd name="connsiteY4" fmla="*/ 4956175 h 4960492"/>
              <a:gd name="connsiteX5" fmla="*/ 0 w 6794500"/>
              <a:gd name="connsiteY5" fmla="*/ 2476500 h 4960492"/>
              <a:gd name="connsiteX0" fmla="*/ 97 w 6794597"/>
              <a:gd name="connsiteY0" fmla="*/ 2476500 h 4960492"/>
              <a:gd name="connsiteX1" fmla="*/ 2533747 w 6794597"/>
              <a:gd name="connsiteY1" fmla="*/ 0 h 4960492"/>
              <a:gd name="connsiteX2" fmla="*/ 6794597 w 6794597"/>
              <a:gd name="connsiteY2" fmla="*/ 1110 h 4960492"/>
              <a:gd name="connsiteX3" fmla="*/ 6794597 w 6794597"/>
              <a:gd name="connsiteY3" fmla="*/ 4960492 h 4960492"/>
              <a:gd name="connsiteX4" fmla="*/ 2454372 w 6794597"/>
              <a:gd name="connsiteY4" fmla="*/ 4956175 h 4960492"/>
              <a:gd name="connsiteX5" fmla="*/ 97 w 6794597"/>
              <a:gd name="connsiteY5" fmla="*/ 2476500 h 4960492"/>
              <a:gd name="connsiteX0" fmla="*/ 19 w 6794519"/>
              <a:gd name="connsiteY0" fmla="*/ 2476500 h 4960492"/>
              <a:gd name="connsiteX1" fmla="*/ 2533669 w 6794519"/>
              <a:gd name="connsiteY1" fmla="*/ 0 h 4960492"/>
              <a:gd name="connsiteX2" fmla="*/ 6794519 w 6794519"/>
              <a:gd name="connsiteY2" fmla="*/ 1110 h 4960492"/>
              <a:gd name="connsiteX3" fmla="*/ 6794519 w 6794519"/>
              <a:gd name="connsiteY3" fmla="*/ 4960492 h 4960492"/>
              <a:gd name="connsiteX4" fmla="*/ 2454294 w 6794519"/>
              <a:gd name="connsiteY4" fmla="*/ 4956175 h 4960492"/>
              <a:gd name="connsiteX5" fmla="*/ 19 w 6794519"/>
              <a:gd name="connsiteY5" fmla="*/ 2476500 h 4960492"/>
              <a:gd name="connsiteX0" fmla="*/ 18 w 6794518"/>
              <a:gd name="connsiteY0" fmla="*/ 2476944 h 4960936"/>
              <a:gd name="connsiteX1" fmla="*/ 2533668 w 6794518"/>
              <a:gd name="connsiteY1" fmla="*/ 444 h 4960936"/>
              <a:gd name="connsiteX2" fmla="*/ 6794518 w 6794518"/>
              <a:gd name="connsiteY2" fmla="*/ 1554 h 4960936"/>
              <a:gd name="connsiteX3" fmla="*/ 6794518 w 6794518"/>
              <a:gd name="connsiteY3" fmla="*/ 4960936 h 4960936"/>
              <a:gd name="connsiteX4" fmla="*/ 2454293 w 6794518"/>
              <a:gd name="connsiteY4" fmla="*/ 4956619 h 4960936"/>
              <a:gd name="connsiteX5" fmla="*/ 18 w 6794518"/>
              <a:gd name="connsiteY5" fmla="*/ 2476944 h 4960936"/>
              <a:gd name="connsiteX0" fmla="*/ 18 w 6794518"/>
              <a:gd name="connsiteY0" fmla="*/ 2476944 h 4960936"/>
              <a:gd name="connsiteX1" fmla="*/ 2533668 w 6794518"/>
              <a:gd name="connsiteY1" fmla="*/ 444 h 4960936"/>
              <a:gd name="connsiteX2" fmla="*/ 6794518 w 6794518"/>
              <a:gd name="connsiteY2" fmla="*/ 1554 h 4960936"/>
              <a:gd name="connsiteX3" fmla="*/ 6794518 w 6794518"/>
              <a:gd name="connsiteY3" fmla="*/ 4960936 h 4960936"/>
              <a:gd name="connsiteX4" fmla="*/ 2454293 w 6794518"/>
              <a:gd name="connsiteY4" fmla="*/ 4956619 h 4960936"/>
              <a:gd name="connsiteX5" fmla="*/ 18 w 6794518"/>
              <a:gd name="connsiteY5" fmla="*/ 2476944 h 4960936"/>
              <a:gd name="connsiteX0" fmla="*/ 1 w 6794501"/>
              <a:gd name="connsiteY0" fmla="*/ 2476902 h 4960894"/>
              <a:gd name="connsiteX1" fmla="*/ 2533651 w 6794501"/>
              <a:gd name="connsiteY1" fmla="*/ 402 h 4960894"/>
              <a:gd name="connsiteX2" fmla="*/ 6794501 w 6794501"/>
              <a:gd name="connsiteY2" fmla="*/ 1512 h 4960894"/>
              <a:gd name="connsiteX3" fmla="*/ 6794501 w 6794501"/>
              <a:gd name="connsiteY3" fmla="*/ 4960894 h 4960894"/>
              <a:gd name="connsiteX4" fmla="*/ 2454276 w 6794501"/>
              <a:gd name="connsiteY4" fmla="*/ 4956577 h 4960894"/>
              <a:gd name="connsiteX5" fmla="*/ 1 w 6794501"/>
              <a:gd name="connsiteY5" fmla="*/ 2476902 h 4960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94501" h="4960894">
                <a:moveTo>
                  <a:pt x="1" y="2476902"/>
                </a:moveTo>
                <a:cubicBezTo>
                  <a:pt x="530" y="895223"/>
                  <a:pt x="1474259" y="-22008"/>
                  <a:pt x="2533651" y="402"/>
                </a:cubicBezTo>
                <a:lnTo>
                  <a:pt x="6794501" y="1512"/>
                </a:lnTo>
                <a:lnTo>
                  <a:pt x="6794501" y="4960894"/>
                </a:lnTo>
                <a:lnTo>
                  <a:pt x="2454276" y="4956577"/>
                </a:lnTo>
                <a:cubicBezTo>
                  <a:pt x="1261534" y="4920403"/>
                  <a:pt x="-528" y="4058581"/>
                  <a:pt x="1" y="247690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600" b="0" i="1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0177F-D1AE-4D79-BFFE-C2705DAEA0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18E5D-4BB4-4F55-8BB3-DD8493AE5EA6}" type="datetime1">
              <a:rPr lang="fi-FI" smtClean="0"/>
              <a:t>21.6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D388A3-F45C-4855-8B64-52B1BF9A5B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221093-58DE-4EB6-89DB-B88D32F62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820695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ekstillinen ku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Kuvan paikkamerkki 2">
            <a:extLst>
              <a:ext uri="{FF2B5EF4-FFF2-40B4-BE49-F238E27FC236}">
                <a16:creationId xmlns:a16="http://schemas.microsoft.com/office/drawing/2014/main" id="{03704D70-526C-45EA-9AEC-6CBFEB88E602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1" y="949191"/>
            <a:ext cx="6254774" cy="4960626"/>
          </a:xfrm>
          <a:custGeom>
            <a:avLst/>
            <a:gdLst>
              <a:gd name="connsiteX0" fmla="*/ 0 w 6256658"/>
              <a:gd name="connsiteY0" fmla="*/ 0 h 4959382"/>
              <a:gd name="connsiteX1" fmla="*/ 6256658 w 6256658"/>
              <a:gd name="connsiteY1" fmla="*/ 0 h 4959382"/>
              <a:gd name="connsiteX2" fmla="*/ 6256658 w 6256658"/>
              <a:gd name="connsiteY2" fmla="*/ 4959382 h 4959382"/>
              <a:gd name="connsiteX3" fmla="*/ 0 w 6256658"/>
              <a:gd name="connsiteY3" fmla="*/ 4959382 h 4959382"/>
              <a:gd name="connsiteX4" fmla="*/ 0 w 6256658"/>
              <a:gd name="connsiteY4" fmla="*/ 0 h 4959382"/>
              <a:gd name="connsiteX0" fmla="*/ 0 w 6256658"/>
              <a:gd name="connsiteY0" fmla="*/ 1110 h 4960492"/>
              <a:gd name="connsiteX1" fmla="*/ 3717925 w 6256658"/>
              <a:gd name="connsiteY1" fmla="*/ 0 h 4960492"/>
              <a:gd name="connsiteX2" fmla="*/ 6256658 w 6256658"/>
              <a:gd name="connsiteY2" fmla="*/ 1110 h 4960492"/>
              <a:gd name="connsiteX3" fmla="*/ 6256658 w 6256658"/>
              <a:gd name="connsiteY3" fmla="*/ 4960492 h 4960492"/>
              <a:gd name="connsiteX4" fmla="*/ 0 w 6256658"/>
              <a:gd name="connsiteY4" fmla="*/ 4960492 h 4960492"/>
              <a:gd name="connsiteX5" fmla="*/ 0 w 6256658"/>
              <a:gd name="connsiteY5" fmla="*/ 1110 h 4960492"/>
              <a:gd name="connsiteX0" fmla="*/ 0 w 6256658"/>
              <a:gd name="connsiteY0" fmla="*/ 1110 h 4960492"/>
              <a:gd name="connsiteX1" fmla="*/ 3717925 w 6256658"/>
              <a:gd name="connsiteY1" fmla="*/ 0 h 4960492"/>
              <a:gd name="connsiteX2" fmla="*/ 6256658 w 6256658"/>
              <a:gd name="connsiteY2" fmla="*/ 1110 h 4960492"/>
              <a:gd name="connsiteX3" fmla="*/ 6256658 w 6256658"/>
              <a:gd name="connsiteY3" fmla="*/ 4960492 h 4960492"/>
              <a:gd name="connsiteX4" fmla="*/ 3810000 w 6256658"/>
              <a:gd name="connsiteY4" fmla="*/ 4959350 h 4960492"/>
              <a:gd name="connsiteX5" fmla="*/ 0 w 6256658"/>
              <a:gd name="connsiteY5" fmla="*/ 4960492 h 4960492"/>
              <a:gd name="connsiteX6" fmla="*/ 0 w 6256658"/>
              <a:gd name="connsiteY6" fmla="*/ 1110 h 4960492"/>
              <a:gd name="connsiteX0" fmla="*/ 0 w 6256658"/>
              <a:gd name="connsiteY0" fmla="*/ 1110 h 4960492"/>
              <a:gd name="connsiteX1" fmla="*/ 3717925 w 6256658"/>
              <a:gd name="connsiteY1" fmla="*/ 0 h 4960492"/>
              <a:gd name="connsiteX2" fmla="*/ 6256658 w 6256658"/>
              <a:gd name="connsiteY2" fmla="*/ 1110 h 4960492"/>
              <a:gd name="connsiteX3" fmla="*/ 6254750 w 6256658"/>
              <a:gd name="connsiteY3" fmla="*/ 2479675 h 4960492"/>
              <a:gd name="connsiteX4" fmla="*/ 6256658 w 6256658"/>
              <a:gd name="connsiteY4" fmla="*/ 4960492 h 4960492"/>
              <a:gd name="connsiteX5" fmla="*/ 3810000 w 6256658"/>
              <a:gd name="connsiteY5" fmla="*/ 4959350 h 4960492"/>
              <a:gd name="connsiteX6" fmla="*/ 0 w 6256658"/>
              <a:gd name="connsiteY6" fmla="*/ 4960492 h 4960492"/>
              <a:gd name="connsiteX7" fmla="*/ 0 w 6256658"/>
              <a:gd name="connsiteY7" fmla="*/ 1110 h 4960492"/>
              <a:gd name="connsiteX0" fmla="*/ 0 w 6256658"/>
              <a:gd name="connsiteY0" fmla="*/ 1110 h 4960492"/>
              <a:gd name="connsiteX1" fmla="*/ 3717925 w 6256658"/>
              <a:gd name="connsiteY1" fmla="*/ 0 h 4960492"/>
              <a:gd name="connsiteX2" fmla="*/ 6256658 w 6256658"/>
              <a:gd name="connsiteY2" fmla="*/ 1110 h 4960492"/>
              <a:gd name="connsiteX3" fmla="*/ 6254750 w 6256658"/>
              <a:gd name="connsiteY3" fmla="*/ 2479675 h 4960492"/>
              <a:gd name="connsiteX4" fmla="*/ 3810000 w 6256658"/>
              <a:gd name="connsiteY4" fmla="*/ 4959350 h 4960492"/>
              <a:gd name="connsiteX5" fmla="*/ 0 w 6256658"/>
              <a:gd name="connsiteY5" fmla="*/ 4960492 h 4960492"/>
              <a:gd name="connsiteX6" fmla="*/ 0 w 6256658"/>
              <a:gd name="connsiteY6" fmla="*/ 1110 h 4960492"/>
              <a:gd name="connsiteX0" fmla="*/ 0 w 6254750"/>
              <a:gd name="connsiteY0" fmla="*/ 1110 h 4960492"/>
              <a:gd name="connsiteX1" fmla="*/ 3717925 w 6254750"/>
              <a:gd name="connsiteY1" fmla="*/ 0 h 4960492"/>
              <a:gd name="connsiteX2" fmla="*/ 6254750 w 6254750"/>
              <a:gd name="connsiteY2" fmla="*/ 2479675 h 4960492"/>
              <a:gd name="connsiteX3" fmla="*/ 3810000 w 6254750"/>
              <a:gd name="connsiteY3" fmla="*/ 4959350 h 4960492"/>
              <a:gd name="connsiteX4" fmla="*/ 0 w 6254750"/>
              <a:gd name="connsiteY4" fmla="*/ 4960492 h 4960492"/>
              <a:gd name="connsiteX5" fmla="*/ 0 w 6254750"/>
              <a:gd name="connsiteY5" fmla="*/ 1110 h 4960492"/>
              <a:gd name="connsiteX0" fmla="*/ 0 w 6254873"/>
              <a:gd name="connsiteY0" fmla="*/ 1110 h 4960492"/>
              <a:gd name="connsiteX1" fmla="*/ 3717925 w 6254873"/>
              <a:gd name="connsiteY1" fmla="*/ 0 h 4960492"/>
              <a:gd name="connsiteX2" fmla="*/ 6254750 w 6254873"/>
              <a:gd name="connsiteY2" fmla="*/ 2479675 h 4960492"/>
              <a:gd name="connsiteX3" fmla="*/ 3810000 w 6254873"/>
              <a:gd name="connsiteY3" fmla="*/ 4959350 h 4960492"/>
              <a:gd name="connsiteX4" fmla="*/ 0 w 6254873"/>
              <a:gd name="connsiteY4" fmla="*/ 4960492 h 4960492"/>
              <a:gd name="connsiteX5" fmla="*/ 0 w 6254873"/>
              <a:gd name="connsiteY5" fmla="*/ 1110 h 4960492"/>
              <a:gd name="connsiteX0" fmla="*/ 0 w 6254773"/>
              <a:gd name="connsiteY0" fmla="*/ 1110 h 4960492"/>
              <a:gd name="connsiteX1" fmla="*/ 3717925 w 6254773"/>
              <a:gd name="connsiteY1" fmla="*/ 0 h 4960492"/>
              <a:gd name="connsiteX2" fmla="*/ 6254750 w 6254773"/>
              <a:gd name="connsiteY2" fmla="*/ 2479675 h 4960492"/>
              <a:gd name="connsiteX3" fmla="*/ 3810000 w 6254773"/>
              <a:gd name="connsiteY3" fmla="*/ 4959350 h 4960492"/>
              <a:gd name="connsiteX4" fmla="*/ 0 w 6254773"/>
              <a:gd name="connsiteY4" fmla="*/ 4960492 h 4960492"/>
              <a:gd name="connsiteX5" fmla="*/ 0 w 6254773"/>
              <a:gd name="connsiteY5" fmla="*/ 1110 h 4960492"/>
              <a:gd name="connsiteX0" fmla="*/ 0 w 6254774"/>
              <a:gd name="connsiteY0" fmla="*/ 1244 h 4960626"/>
              <a:gd name="connsiteX1" fmla="*/ 3717925 w 6254774"/>
              <a:gd name="connsiteY1" fmla="*/ 134 h 4960626"/>
              <a:gd name="connsiteX2" fmla="*/ 6254750 w 6254774"/>
              <a:gd name="connsiteY2" fmla="*/ 2479809 h 4960626"/>
              <a:gd name="connsiteX3" fmla="*/ 3810000 w 6254774"/>
              <a:gd name="connsiteY3" fmla="*/ 4959484 h 4960626"/>
              <a:gd name="connsiteX4" fmla="*/ 0 w 6254774"/>
              <a:gd name="connsiteY4" fmla="*/ 4960626 h 4960626"/>
              <a:gd name="connsiteX5" fmla="*/ 0 w 6254774"/>
              <a:gd name="connsiteY5" fmla="*/ 1244 h 4960626"/>
              <a:gd name="connsiteX0" fmla="*/ 0 w 6254774"/>
              <a:gd name="connsiteY0" fmla="*/ 1244 h 4960626"/>
              <a:gd name="connsiteX1" fmla="*/ 3717925 w 6254774"/>
              <a:gd name="connsiteY1" fmla="*/ 134 h 4960626"/>
              <a:gd name="connsiteX2" fmla="*/ 6254750 w 6254774"/>
              <a:gd name="connsiteY2" fmla="*/ 2479809 h 4960626"/>
              <a:gd name="connsiteX3" fmla="*/ 3810000 w 6254774"/>
              <a:gd name="connsiteY3" fmla="*/ 4959484 h 4960626"/>
              <a:gd name="connsiteX4" fmla="*/ 0 w 6254774"/>
              <a:gd name="connsiteY4" fmla="*/ 4960626 h 4960626"/>
              <a:gd name="connsiteX5" fmla="*/ 0 w 6254774"/>
              <a:gd name="connsiteY5" fmla="*/ 1244 h 4960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254774" h="4960626">
                <a:moveTo>
                  <a:pt x="0" y="1244"/>
                </a:moveTo>
                <a:lnTo>
                  <a:pt x="3717925" y="134"/>
                </a:lnTo>
                <a:cubicBezTo>
                  <a:pt x="4846108" y="-12222"/>
                  <a:pt x="6261629" y="824576"/>
                  <a:pt x="6254750" y="2479809"/>
                </a:cubicBezTo>
                <a:cubicBezTo>
                  <a:pt x="6247871" y="4135042"/>
                  <a:pt x="4887383" y="4955590"/>
                  <a:pt x="3810000" y="4959484"/>
                </a:cubicBezTo>
                <a:lnTo>
                  <a:pt x="0" y="4960626"/>
                </a:lnTo>
                <a:lnTo>
                  <a:pt x="0" y="12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600" b="0" i="1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DA7EB6BE-E09D-4391-BB19-9AB34E85D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2741" y="882869"/>
            <a:ext cx="4599785" cy="1472950"/>
          </a:xfrm>
        </p:spPr>
        <p:txBody>
          <a:bodyPr/>
          <a:lstStyle>
            <a:lvl1pPr>
              <a:defRPr sz="27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EA7A06A4-1BF6-41E8-89FB-D111961A8A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02741" y="2702660"/>
            <a:ext cx="4599785" cy="347430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0177F-D1AE-4D79-BFFE-C2705DAEA0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F31D0-648E-47AC-8F1A-58B351024FD1}" type="datetime1">
              <a:rPr lang="fi-FI" smtClean="0"/>
              <a:t>21.6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D388A3-F45C-4855-8B64-52B1BF9A5B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221093-58DE-4EB6-89DB-B88D32F62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318601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ekstillinen kuv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A7EB6BE-E09D-4391-BB19-9AB34E85D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0759" y="882869"/>
            <a:ext cx="4455643" cy="1472950"/>
          </a:xfrm>
        </p:spPr>
        <p:txBody>
          <a:bodyPr/>
          <a:lstStyle>
            <a:lvl1pPr>
              <a:defRPr sz="27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EA7A06A4-1BF6-41E8-89FB-D111961A8A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20759" y="2702660"/>
            <a:ext cx="4455643" cy="347430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9" name="Kuvan paikkamerkki 2">
            <a:extLst>
              <a:ext uri="{FF2B5EF4-FFF2-40B4-BE49-F238E27FC236}">
                <a16:creationId xmlns:a16="http://schemas.microsoft.com/office/drawing/2014/main" id="{03704D70-526C-45EA-9AEC-6CBFEB88E602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941427" y="-1"/>
            <a:ext cx="4995416" cy="6198113"/>
          </a:xfrm>
          <a:custGeom>
            <a:avLst/>
            <a:gdLst>
              <a:gd name="connsiteX0" fmla="*/ 0 w 4991670"/>
              <a:gd name="connsiteY0" fmla="*/ 0 h 6229632"/>
              <a:gd name="connsiteX1" fmla="*/ 4991670 w 4991670"/>
              <a:gd name="connsiteY1" fmla="*/ 0 h 6229632"/>
              <a:gd name="connsiteX2" fmla="*/ 4991670 w 4991670"/>
              <a:gd name="connsiteY2" fmla="*/ 6229632 h 6229632"/>
              <a:gd name="connsiteX3" fmla="*/ 0 w 4991670"/>
              <a:gd name="connsiteY3" fmla="*/ 6229632 h 6229632"/>
              <a:gd name="connsiteX4" fmla="*/ 0 w 4991670"/>
              <a:gd name="connsiteY4" fmla="*/ 0 h 6229632"/>
              <a:gd name="connsiteX0" fmla="*/ 0 w 4991670"/>
              <a:gd name="connsiteY0" fmla="*/ 0 h 6229632"/>
              <a:gd name="connsiteX1" fmla="*/ 4991670 w 4991670"/>
              <a:gd name="connsiteY1" fmla="*/ 0 h 6229632"/>
              <a:gd name="connsiteX2" fmla="*/ 4987166 w 4991670"/>
              <a:gd name="connsiteY2" fmla="*/ 3423369 h 6229632"/>
              <a:gd name="connsiteX3" fmla="*/ 4991670 w 4991670"/>
              <a:gd name="connsiteY3" fmla="*/ 6229632 h 6229632"/>
              <a:gd name="connsiteX4" fmla="*/ 0 w 4991670"/>
              <a:gd name="connsiteY4" fmla="*/ 6229632 h 6229632"/>
              <a:gd name="connsiteX5" fmla="*/ 0 w 4991670"/>
              <a:gd name="connsiteY5" fmla="*/ 0 h 6229632"/>
              <a:gd name="connsiteX0" fmla="*/ 3746 w 4995416"/>
              <a:gd name="connsiteY0" fmla="*/ 0 h 6229632"/>
              <a:gd name="connsiteX1" fmla="*/ 4995416 w 4995416"/>
              <a:gd name="connsiteY1" fmla="*/ 0 h 6229632"/>
              <a:gd name="connsiteX2" fmla="*/ 4990912 w 4995416"/>
              <a:gd name="connsiteY2" fmla="*/ 3423369 h 6229632"/>
              <a:gd name="connsiteX3" fmla="*/ 4995416 w 4995416"/>
              <a:gd name="connsiteY3" fmla="*/ 6229632 h 6229632"/>
              <a:gd name="connsiteX4" fmla="*/ 3746 w 4995416"/>
              <a:gd name="connsiteY4" fmla="*/ 6229632 h 6229632"/>
              <a:gd name="connsiteX5" fmla="*/ 0 w 4995416"/>
              <a:gd name="connsiteY5" fmla="*/ 3432378 h 6229632"/>
              <a:gd name="connsiteX6" fmla="*/ 3746 w 4995416"/>
              <a:gd name="connsiteY6" fmla="*/ 0 h 6229632"/>
              <a:gd name="connsiteX0" fmla="*/ 3746 w 4995416"/>
              <a:gd name="connsiteY0" fmla="*/ 0 h 6229632"/>
              <a:gd name="connsiteX1" fmla="*/ 4995416 w 4995416"/>
              <a:gd name="connsiteY1" fmla="*/ 0 h 6229632"/>
              <a:gd name="connsiteX2" fmla="*/ 4990912 w 4995416"/>
              <a:gd name="connsiteY2" fmla="*/ 3423369 h 6229632"/>
              <a:gd name="connsiteX3" fmla="*/ 4995416 w 4995416"/>
              <a:gd name="connsiteY3" fmla="*/ 6229632 h 6229632"/>
              <a:gd name="connsiteX4" fmla="*/ 2535996 w 4995416"/>
              <a:gd name="connsiteY4" fmla="*/ 6229632 h 6229632"/>
              <a:gd name="connsiteX5" fmla="*/ 3746 w 4995416"/>
              <a:gd name="connsiteY5" fmla="*/ 6229632 h 6229632"/>
              <a:gd name="connsiteX6" fmla="*/ 0 w 4995416"/>
              <a:gd name="connsiteY6" fmla="*/ 3432378 h 6229632"/>
              <a:gd name="connsiteX7" fmla="*/ 3746 w 4995416"/>
              <a:gd name="connsiteY7" fmla="*/ 0 h 6229632"/>
              <a:gd name="connsiteX0" fmla="*/ 3746 w 4995416"/>
              <a:gd name="connsiteY0" fmla="*/ 0 h 6229632"/>
              <a:gd name="connsiteX1" fmla="*/ 4995416 w 4995416"/>
              <a:gd name="connsiteY1" fmla="*/ 0 h 6229632"/>
              <a:gd name="connsiteX2" fmla="*/ 4990912 w 4995416"/>
              <a:gd name="connsiteY2" fmla="*/ 3423369 h 6229632"/>
              <a:gd name="connsiteX3" fmla="*/ 4995416 w 4995416"/>
              <a:gd name="connsiteY3" fmla="*/ 6229632 h 6229632"/>
              <a:gd name="connsiteX4" fmla="*/ 2535996 w 4995416"/>
              <a:gd name="connsiteY4" fmla="*/ 6229632 h 6229632"/>
              <a:gd name="connsiteX5" fmla="*/ 0 w 4995416"/>
              <a:gd name="connsiteY5" fmla="*/ 3432378 h 6229632"/>
              <a:gd name="connsiteX6" fmla="*/ 3746 w 4995416"/>
              <a:gd name="connsiteY6" fmla="*/ 0 h 6229632"/>
              <a:gd name="connsiteX0" fmla="*/ 3746 w 4995416"/>
              <a:gd name="connsiteY0" fmla="*/ 0 h 6229632"/>
              <a:gd name="connsiteX1" fmla="*/ 4995416 w 4995416"/>
              <a:gd name="connsiteY1" fmla="*/ 0 h 6229632"/>
              <a:gd name="connsiteX2" fmla="*/ 4990912 w 4995416"/>
              <a:gd name="connsiteY2" fmla="*/ 3423369 h 6229632"/>
              <a:gd name="connsiteX3" fmla="*/ 2535996 w 4995416"/>
              <a:gd name="connsiteY3" fmla="*/ 6229632 h 6229632"/>
              <a:gd name="connsiteX4" fmla="*/ 0 w 4995416"/>
              <a:gd name="connsiteY4" fmla="*/ 3432378 h 6229632"/>
              <a:gd name="connsiteX5" fmla="*/ 3746 w 4995416"/>
              <a:gd name="connsiteY5" fmla="*/ 0 h 6229632"/>
              <a:gd name="connsiteX0" fmla="*/ 3746 w 4995416"/>
              <a:gd name="connsiteY0" fmla="*/ 0 h 6422260"/>
              <a:gd name="connsiteX1" fmla="*/ 4995416 w 4995416"/>
              <a:gd name="connsiteY1" fmla="*/ 0 h 6422260"/>
              <a:gd name="connsiteX2" fmla="*/ 4990912 w 4995416"/>
              <a:gd name="connsiteY2" fmla="*/ 3423369 h 6422260"/>
              <a:gd name="connsiteX3" fmla="*/ 2535996 w 4995416"/>
              <a:gd name="connsiteY3" fmla="*/ 6229632 h 6422260"/>
              <a:gd name="connsiteX4" fmla="*/ 0 w 4995416"/>
              <a:gd name="connsiteY4" fmla="*/ 3432378 h 6422260"/>
              <a:gd name="connsiteX5" fmla="*/ 3746 w 4995416"/>
              <a:gd name="connsiteY5" fmla="*/ 0 h 6422260"/>
              <a:gd name="connsiteX0" fmla="*/ 3746 w 4995416"/>
              <a:gd name="connsiteY0" fmla="*/ 0 h 6229640"/>
              <a:gd name="connsiteX1" fmla="*/ 4995416 w 4995416"/>
              <a:gd name="connsiteY1" fmla="*/ 0 h 6229640"/>
              <a:gd name="connsiteX2" fmla="*/ 4990912 w 4995416"/>
              <a:gd name="connsiteY2" fmla="*/ 3423369 h 6229640"/>
              <a:gd name="connsiteX3" fmla="*/ 2535996 w 4995416"/>
              <a:gd name="connsiteY3" fmla="*/ 6229632 h 6229640"/>
              <a:gd name="connsiteX4" fmla="*/ 0 w 4995416"/>
              <a:gd name="connsiteY4" fmla="*/ 3432378 h 6229640"/>
              <a:gd name="connsiteX5" fmla="*/ 3746 w 4995416"/>
              <a:gd name="connsiteY5" fmla="*/ 0 h 6229640"/>
              <a:gd name="connsiteX0" fmla="*/ 3746 w 4995416"/>
              <a:gd name="connsiteY0" fmla="*/ 0 h 6198109"/>
              <a:gd name="connsiteX1" fmla="*/ 4995416 w 4995416"/>
              <a:gd name="connsiteY1" fmla="*/ 0 h 6198109"/>
              <a:gd name="connsiteX2" fmla="*/ 4990912 w 4995416"/>
              <a:gd name="connsiteY2" fmla="*/ 3423369 h 6198109"/>
              <a:gd name="connsiteX3" fmla="*/ 2535996 w 4995416"/>
              <a:gd name="connsiteY3" fmla="*/ 6198101 h 6198109"/>
              <a:gd name="connsiteX4" fmla="*/ 0 w 4995416"/>
              <a:gd name="connsiteY4" fmla="*/ 3432378 h 6198109"/>
              <a:gd name="connsiteX5" fmla="*/ 3746 w 4995416"/>
              <a:gd name="connsiteY5" fmla="*/ 0 h 6198109"/>
              <a:gd name="connsiteX0" fmla="*/ 3746 w 4995416"/>
              <a:gd name="connsiteY0" fmla="*/ 0 h 6198109"/>
              <a:gd name="connsiteX1" fmla="*/ 4995416 w 4995416"/>
              <a:gd name="connsiteY1" fmla="*/ 0 h 6198109"/>
              <a:gd name="connsiteX2" fmla="*/ 4990912 w 4995416"/>
              <a:gd name="connsiteY2" fmla="*/ 3423369 h 6198109"/>
              <a:gd name="connsiteX3" fmla="*/ 2535996 w 4995416"/>
              <a:gd name="connsiteY3" fmla="*/ 6198101 h 6198109"/>
              <a:gd name="connsiteX4" fmla="*/ 0 w 4995416"/>
              <a:gd name="connsiteY4" fmla="*/ 3432378 h 6198109"/>
              <a:gd name="connsiteX5" fmla="*/ 3746 w 4995416"/>
              <a:gd name="connsiteY5" fmla="*/ 0 h 6198109"/>
              <a:gd name="connsiteX0" fmla="*/ 3746 w 4995416"/>
              <a:gd name="connsiteY0" fmla="*/ 0 h 6198113"/>
              <a:gd name="connsiteX1" fmla="*/ 4995416 w 4995416"/>
              <a:gd name="connsiteY1" fmla="*/ 0 h 6198113"/>
              <a:gd name="connsiteX2" fmla="*/ 4990912 w 4995416"/>
              <a:gd name="connsiteY2" fmla="*/ 3423369 h 6198113"/>
              <a:gd name="connsiteX3" fmla="*/ 2535996 w 4995416"/>
              <a:gd name="connsiteY3" fmla="*/ 6198101 h 6198113"/>
              <a:gd name="connsiteX4" fmla="*/ 0 w 4995416"/>
              <a:gd name="connsiteY4" fmla="*/ 3432378 h 6198113"/>
              <a:gd name="connsiteX5" fmla="*/ 3746 w 4995416"/>
              <a:gd name="connsiteY5" fmla="*/ 0 h 6198113"/>
              <a:gd name="connsiteX0" fmla="*/ 3746 w 4995416"/>
              <a:gd name="connsiteY0" fmla="*/ 0 h 6198113"/>
              <a:gd name="connsiteX1" fmla="*/ 4995416 w 4995416"/>
              <a:gd name="connsiteY1" fmla="*/ 0 h 6198113"/>
              <a:gd name="connsiteX2" fmla="*/ 4990912 w 4995416"/>
              <a:gd name="connsiteY2" fmla="*/ 3423369 h 6198113"/>
              <a:gd name="connsiteX3" fmla="*/ 2535996 w 4995416"/>
              <a:gd name="connsiteY3" fmla="*/ 6198101 h 6198113"/>
              <a:gd name="connsiteX4" fmla="*/ 0 w 4995416"/>
              <a:gd name="connsiteY4" fmla="*/ 3432378 h 6198113"/>
              <a:gd name="connsiteX5" fmla="*/ 3746 w 4995416"/>
              <a:gd name="connsiteY5" fmla="*/ 0 h 6198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95416" h="6198113">
                <a:moveTo>
                  <a:pt x="3746" y="0"/>
                </a:moveTo>
                <a:lnTo>
                  <a:pt x="4995416" y="0"/>
                </a:lnTo>
                <a:cubicBezTo>
                  <a:pt x="4993915" y="1141123"/>
                  <a:pt x="4992413" y="2282246"/>
                  <a:pt x="4990912" y="3423369"/>
                </a:cubicBezTo>
                <a:cubicBezTo>
                  <a:pt x="4981904" y="5132802"/>
                  <a:pt x="4151586" y="6193597"/>
                  <a:pt x="2535996" y="6198101"/>
                </a:cubicBezTo>
                <a:cubicBezTo>
                  <a:pt x="920406" y="6202605"/>
                  <a:pt x="12012" y="5035956"/>
                  <a:pt x="0" y="3432378"/>
                </a:cubicBezTo>
                <a:cubicBezTo>
                  <a:pt x="1249" y="2288252"/>
                  <a:pt x="2497" y="1144126"/>
                  <a:pt x="374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 sz="1600" b="0" i="1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0177F-D1AE-4D79-BFFE-C2705DAEA0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00FEF-F780-4D9F-8B58-EFBA7A90191A}" type="datetime1">
              <a:rPr lang="fi-FI" smtClean="0"/>
              <a:t>21.6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D388A3-F45C-4855-8B64-52B1BF9A5B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221093-58DE-4EB6-89DB-B88D32F62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489796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7F72F94-0DE4-46B2-BC4B-03DD33656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858" y="1398932"/>
            <a:ext cx="10515600" cy="2160000"/>
          </a:xfrm>
        </p:spPr>
        <p:txBody>
          <a:bodyPr anchor="b"/>
          <a:lstStyle>
            <a:lvl1pPr algn="ctr">
              <a:defRPr sz="4400" spc="-50" baseline="0">
                <a:solidFill>
                  <a:schemeClr val="tx2"/>
                </a:solidFill>
              </a:defRPr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BE0173B0-16C2-4182-AD95-1BD9115896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0858" y="3797237"/>
            <a:ext cx="10515600" cy="2160000"/>
          </a:xfrm>
        </p:spPr>
        <p:txBody>
          <a:bodyPr/>
          <a:lstStyle>
            <a:lvl1pPr marL="0" indent="0" algn="ctr">
              <a:buNone/>
              <a:defRPr sz="3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B3B523-2C65-4131-AE5D-4F294F9648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53B003A-8C05-4A8D-AF1E-235C765A5AB0}" type="datetime1">
              <a:rPr lang="fi-FI" smtClean="0"/>
              <a:t>21.6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86461B-3453-4CE9-B33F-0AD721F36D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CBC889-FA03-4D4A-9267-2179D978D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CD26548-A701-4132-A0A2-A9B09A70FF4B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3272461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Osan ylätunniste 2">
    <p:bg>
      <p:bgPr>
        <a:solidFill>
          <a:srgbClr val="FFCF2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7F72F94-0DE4-46B2-BC4B-03DD33656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858" y="1398932"/>
            <a:ext cx="10515600" cy="2160000"/>
          </a:xfrm>
        </p:spPr>
        <p:txBody>
          <a:bodyPr anchor="b"/>
          <a:lstStyle>
            <a:lvl1pPr algn="ctr">
              <a:defRPr sz="4100" spc="-50" baseline="0">
                <a:solidFill>
                  <a:schemeClr val="tx2"/>
                </a:solidFill>
              </a:defRPr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BE0173B0-16C2-4182-AD95-1BD9115896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0858" y="3797237"/>
            <a:ext cx="10515600" cy="2160000"/>
          </a:xfrm>
        </p:spPr>
        <p:txBody>
          <a:bodyPr/>
          <a:lstStyle>
            <a:lvl1pPr marL="0" indent="0" algn="ctr">
              <a:buNone/>
              <a:defRPr sz="3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B3B523-2C65-4131-AE5D-4F294F9648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AC2DC00-E3DF-4DD2-B970-A43E6A824297}" type="datetime1">
              <a:rPr lang="fi-FI" smtClean="0"/>
              <a:t>21.6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86461B-3453-4CE9-B33F-0AD721F36D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CBC889-FA03-4D4A-9267-2179D978D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CD26548-A701-4132-A0A2-A9B09A70FF4B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073931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Osan ylätunniste 3">
    <p:bg>
      <p:bgPr>
        <a:solidFill>
          <a:srgbClr val="3131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7F72F94-0DE4-46B2-BC4B-03DD33656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858" y="1398932"/>
            <a:ext cx="10515600" cy="2160000"/>
          </a:xfrm>
        </p:spPr>
        <p:txBody>
          <a:bodyPr anchor="b"/>
          <a:lstStyle>
            <a:lvl1pPr algn="ctr">
              <a:defRPr sz="4100" spc="-50" baseline="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BE0173B0-16C2-4182-AD95-1BD9115896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0858" y="3797237"/>
            <a:ext cx="10515600" cy="2160000"/>
          </a:xfrm>
        </p:spPr>
        <p:txBody>
          <a:bodyPr/>
          <a:lstStyle>
            <a:lvl1pPr marL="0" indent="0" algn="ctr">
              <a:buNone/>
              <a:defRPr sz="3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B3B523-2C65-4131-AE5D-4F294F9648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213AF8A-1C87-4C4D-9EF3-92D5F7AD8E7D}" type="datetime1">
              <a:rPr lang="fi-FI" smtClean="0"/>
              <a:t>21.6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86461B-3453-4CE9-B33F-0AD721F36D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CBC889-FA03-4D4A-9267-2179D978D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CD26548-A701-4132-A0A2-A9B09A70FF4B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798615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A7EB6BE-E09D-4391-BB19-9AB34E85D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EA7A06A4-1BF6-41E8-89FB-D111961A8A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 marL="1800000" indent="0">
              <a:buNone/>
              <a:defRPr/>
            </a:lvl6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0177F-D1AE-4D79-BFFE-C2705DAEA0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AD3BDE-3208-47CA-97ED-AD1BC5E421A3}" type="datetime1">
              <a:rPr lang="fi-FI" smtClean="0"/>
              <a:t>21.6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D388A3-F45C-4855-8B64-52B1BF9A5B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221093-58DE-4EB6-89DB-B88D32F62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18952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itaat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9D4FB9D-D480-450E-ABEE-85694599AF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5173" y="1852623"/>
            <a:ext cx="10313378" cy="3183334"/>
          </a:xfrm>
        </p:spPr>
        <p:txBody>
          <a:bodyPr anchor="ctr" anchorCtr="0"/>
          <a:lstStyle>
            <a:lvl1pPr algn="ctr">
              <a:defRPr spc="-100" baseline="0">
                <a:solidFill>
                  <a:schemeClr val="tx2"/>
                </a:solidFill>
              </a:defRPr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A291936-39C5-4003-8862-5510EDEF29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189322E-7B47-4EB0-B09E-4114EA4F1561}" type="datetime1">
              <a:rPr lang="fi-FI" smtClean="0"/>
              <a:t>21.6.2023</a:t>
            </a:fld>
            <a:endParaRPr lang="fi-FI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9D1CF5D-3D1A-4FCE-9AAC-FFF0CA0A53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CD26548-A701-4132-A0A2-A9B09A70FF4B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268311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itaatti 2">
    <p:bg>
      <p:bgPr>
        <a:solidFill>
          <a:srgbClr val="FFCF2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9D4FB9D-D480-450E-ABEE-85694599AF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5173" y="1852623"/>
            <a:ext cx="10313378" cy="3183334"/>
          </a:xfrm>
        </p:spPr>
        <p:txBody>
          <a:bodyPr anchor="ctr" anchorCtr="0"/>
          <a:lstStyle>
            <a:lvl1pPr algn="ctr">
              <a:defRPr spc="-100" baseline="0">
                <a:solidFill>
                  <a:schemeClr val="tx2"/>
                </a:solidFill>
              </a:defRPr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A291936-39C5-4003-8862-5510EDEF29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16F0BFB-8D35-49ED-B2B9-E4810B5DBF9B}" type="datetime1">
              <a:rPr lang="fi-FI" smtClean="0"/>
              <a:t>21.6.2023</a:t>
            </a:fld>
            <a:endParaRPr lang="fi-FI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9D1CF5D-3D1A-4FCE-9AAC-FFF0CA0A53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CD26548-A701-4132-A0A2-A9B09A70FF4B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476656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itaatti 3">
    <p:bg>
      <p:bgPr>
        <a:solidFill>
          <a:srgbClr val="3131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9D4FB9D-D480-450E-ABEE-85694599AF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5173" y="1852623"/>
            <a:ext cx="10313378" cy="3183334"/>
          </a:xfrm>
        </p:spPr>
        <p:txBody>
          <a:bodyPr anchor="ctr" anchorCtr="0"/>
          <a:lstStyle>
            <a:lvl1pPr algn="ctr">
              <a:defRPr spc="-100" baseline="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A291936-39C5-4003-8862-5510EDEF29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5D5C4B0-2321-4A84-97ED-180F3B8F8CC0}" type="datetime1">
              <a:rPr lang="fi-FI" smtClean="0"/>
              <a:t>21.6.2023</a:t>
            </a:fld>
            <a:endParaRPr lang="fi-FI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9D1CF5D-3D1A-4FCE-9AAC-FFF0CA0A53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CD26548-A701-4132-A0A2-A9B09A70FF4B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621799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, 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A7EB6BE-E09D-4391-BB19-9AB34E85D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5173" y="882869"/>
            <a:ext cx="4526870" cy="1472950"/>
          </a:xfrm>
        </p:spPr>
        <p:txBody>
          <a:bodyPr/>
          <a:lstStyle>
            <a:lvl1pPr>
              <a:defRPr sz="27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EA7A06A4-1BF6-41E8-89FB-D111961A8A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5173" y="2702660"/>
            <a:ext cx="4526870" cy="347430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0177F-D1AE-4D79-BFFE-C2705DAEA0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DBCA1-6718-470C-94D7-D1B1CBCC0428}" type="datetime1">
              <a:rPr lang="fi-FI" smtClean="0"/>
              <a:t>21.6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D388A3-F45C-4855-8B64-52B1BF9A5B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221093-58DE-4EB6-89DB-B88D32F62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‹#›</a:t>
            </a:fld>
            <a:endParaRPr lang="fi-FI"/>
          </a:p>
        </p:txBody>
      </p:sp>
      <p:grpSp>
        <p:nvGrpSpPr>
          <p:cNvPr id="8" name="Ryhmä 7">
            <a:extLst>
              <a:ext uri="{FF2B5EF4-FFF2-40B4-BE49-F238E27FC236}">
                <a16:creationId xmlns:a16="http://schemas.microsoft.com/office/drawing/2014/main" id="{771942AC-4EF7-FCE7-724B-D325E8B2D7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6161196" y="1378355"/>
            <a:ext cx="5569688" cy="5480715"/>
            <a:chOff x="2616201" y="4763"/>
            <a:chExt cx="6956425" cy="6845300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1CF62482-6DA5-8355-BE4C-E99ED928D6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9376" y="65088"/>
              <a:ext cx="2413000" cy="4302125"/>
            </a:xfrm>
            <a:custGeom>
              <a:avLst/>
              <a:gdLst>
                <a:gd name="T0" fmla="*/ 400 w 10755"/>
                <a:gd name="T1" fmla="*/ 147 h 19180"/>
                <a:gd name="T2" fmla="*/ 0 w 10755"/>
                <a:gd name="T3" fmla="*/ 313 h 19180"/>
                <a:gd name="T4" fmla="*/ 0 w 10755"/>
                <a:gd name="T5" fmla="*/ 13802 h 19180"/>
                <a:gd name="T6" fmla="*/ 5378 w 10755"/>
                <a:gd name="T7" fmla="*/ 19180 h 19180"/>
                <a:gd name="T8" fmla="*/ 10755 w 10755"/>
                <a:gd name="T9" fmla="*/ 13802 h 19180"/>
                <a:gd name="T10" fmla="*/ 10755 w 10755"/>
                <a:gd name="T11" fmla="*/ 13802 h 19180"/>
                <a:gd name="T12" fmla="*/ 10755 w 10755"/>
                <a:gd name="T13" fmla="*/ 10599 h 19180"/>
                <a:gd name="T14" fmla="*/ 10686 w 10755"/>
                <a:gd name="T15" fmla="*/ 10434 h 19180"/>
                <a:gd name="T16" fmla="*/ 400 w 10755"/>
                <a:gd name="T17" fmla="*/ 147 h 19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755" h="19180">
                  <a:moveTo>
                    <a:pt x="400" y="147"/>
                  </a:moveTo>
                  <a:cubicBezTo>
                    <a:pt x="253" y="0"/>
                    <a:pt x="0" y="104"/>
                    <a:pt x="0" y="313"/>
                  </a:cubicBezTo>
                  <a:lnTo>
                    <a:pt x="0" y="13802"/>
                  </a:lnTo>
                  <a:cubicBezTo>
                    <a:pt x="0" y="16772"/>
                    <a:pt x="2408" y="19180"/>
                    <a:pt x="5378" y="19180"/>
                  </a:cubicBezTo>
                  <a:cubicBezTo>
                    <a:pt x="8348" y="19180"/>
                    <a:pt x="10755" y="16772"/>
                    <a:pt x="10755" y="13802"/>
                  </a:cubicBezTo>
                  <a:lnTo>
                    <a:pt x="10755" y="13802"/>
                  </a:lnTo>
                  <a:lnTo>
                    <a:pt x="10755" y="10599"/>
                  </a:lnTo>
                  <a:cubicBezTo>
                    <a:pt x="10755" y="10537"/>
                    <a:pt x="10730" y="10477"/>
                    <a:pt x="10686" y="10434"/>
                  </a:cubicBezTo>
                  <a:lnTo>
                    <a:pt x="400" y="147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D69D6212-DF87-EA70-71CE-BE8138755B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3351" y="7938"/>
              <a:ext cx="4325938" cy="2413000"/>
            </a:xfrm>
            <a:custGeom>
              <a:avLst/>
              <a:gdLst>
                <a:gd name="T0" fmla="*/ 10515 w 19289"/>
                <a:gd name="T1" fmla="*/ 10755 h 10755"/>
                <a:gd name="T2" fmla="*/ 13901 w 19289"/>
                <a:gd name="T3" fmla="*/ 10755 h 10755"/>
                <a:gd name="T4" fmla="*/ 19279 w 19289"/>
                <a:gd name="T5" fmla="*/ 5359 h 10755"/>
                <a:gd name="T6" fmla="*/ 13843 w 19289"/>
                <a:gd name="T7" fmla="*/ 0 h 10755"/>
                <a:gd name="T8" fmla="*/ 298 w 19289"/>
                <a:gd name="T9" fmla="*/ 0 h 10755"/>
                <a:gd name="T10" fmla="*/ 141 w 19289"/>
                <a:gd name="T11" fmla="*/ 381 h 10755"/>
                <a:gd name="T12" fmla="*/ 10515 w 19289"/>
                <a:gd name="T13" fmla="*/ 10755 h 10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89" h="10755">
                  <a:moveTo>
                    <a:pt x="10515" y="10755"/>
                  </a:moveTo>
                  <a:lnTo>
                    <a:pt x="13901" y="10755"/>
                  </a:lnTo>
                  <a:cubicBezTo>
                    <a:pt x="16878" y="10755"/>
                    <a:pt x="19289" y="8337"/>
                    <a:pt x="19279" y="5359"/>
                  </a:cubicBezTo>
                  <a:cubicBezTo>
                    <a:pt x="19269" y="2387"/>
                    <a:pt x="16815" y="0"/>
                    <a:pt x="13843" y="0"/>
                  </a:cubicBezTo>
                  <a:lnTo>
                    <a:pt x="298" y="0"/>
                  </a:lnTo>
                  <a:cubicBezTo>
                    <a:pt x="100" y="0"/>
                    <a:pt x="0" y="240"/>
                    <a:pt x="141" y="381"/>
                  </a:cubicBezTo>
                  <a:lnTo>
                    <a:pt x="10515" y="10755"/>
                  </a:lnTo>
                  <a:close/>
                </a:path>
              </a:pathLst>
            </a:custGeom>
            <a:solidFill>
              <a:srgbClr val="FFCF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53D28E72-2DE6-A740-B70C-DB5E2DC03E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6201" y="4763"/>
              <a:ext cx="6956425" cy="6845300"/>
            </a:xfrm>
            <a:custGeom>
              <a:avLst/>
              <a:gdLst>
                <a:gd name="T0" fmla="*/ 29827 w 31023"/>
                <a:gd name="T1" fmla="*/ 30518 h 30518"/>
                <a:gd name="T2" fmla="*/ 31023 w 31023"/>
                <a:gd name="T3" fmla="*/ 30518 h 30518"/>
                <a:gd name="T4" fmla="*/ 30881 w 31023"/>
                <a:gd name="T5" fmla="*/ 30190 h 30518"/>
                <a:gd name="T6" fmla="*/ 881 w 31023"/>
                <a:gd name="T7" fmla="*/ 190 h 30518"/>
                <a:gd name="T8" fmla="*/ 190 w 31023"/>
                <a:gd name="T9" fmla="*/ 190 h 30518"/>
                <a:gd name="T10" fmla="*/ 190 w 31023"/>
                <a:gd name="T11" fmla="*/ 881 h 30518"/>
                <a:gd name="T12" fmla="*/ 29827 w 31023"/>
                <a:gd name="T13" fmla="*/ 30518 h 30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23" h="30518">
                  <a:moveTo>
                    <a:pt x="29827" y="30518"/>
                  </a:moveTo>
                  <a:lnTo>
                    <a:pt x="31023" y="30518"/>
                  </a:lnTo>
                  <a:cubicBezTo>
                    <a:pt x="31019" y="30399"/>
                    <a:pt x="30971" y="30281"/>
                    <a:pt x="30881" y="30190"/>
                  </a:cubicBezTo>
                  <a:lnTo>
                    <a:pt x="881" y="190"/>
                  </a:lnTo>
                  <a:cubicBezTo>
                    <a:pt x="690" y="0"/>
                    <a:pt x="381" y="0"/>
                    <a:pt x="190" y="190"/>
                  </a:cubicBezTo>
                  <a:cubicBezTo>
                    <a:pt x="0" y="381"/>
                    <a:pt x="0" y="690"/>
                    <a:pt x="190" y="881"/>
                  </a:cubicBezTo>
                  <a:lnTo>
                    <a:pt x="29827" y="305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6064687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, otsikko ja sisältö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A7EB6BE-E09D-4391-BB19-9AB34E85D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2741" y="882869"/>
            <a:ext cx="4599785" cy="1472950"/>
          </a:xfrm>
        </p:spPr>
        <p:txBody>
          <a:bodyPr/>
          <a:lstStyle>
            <a:lvl1pPr>
              <a:defRPr sz="30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EA7A06A4-1BF6-41E8-89FB-D111961A8A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02741" y="2702660"/>
            <a:ext cx="4599785" cy="347430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0177F-D1AE-4D79-BFFE-C2705DAEA0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79902-CAD0-49B3-A6AE-B1BB883B1100}" type="datetime1">
              <a:rPr lang="fi-FI" smtClean="0"/>
              <a:t>21.6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D388A3-F45C-4855-8B64-52B1BF9A5B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221093-58DE-4EB6-89DB-B88D32F62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‹#›</a:t>
            </a:fld>
            <a:endParaRPr lang="fi-FI"/>
          </a:p>
        </p:txBody>
      </p:sp>
      <p:grpSp>
        <p:nvGrpSpPr>
          <p:cNvPr id="9" name="Ryhmä 8">
            <a:extLst>
              <a:ext uri="{FF2B5EF4-FFF2-40B4-BE49-F238E27FC236}">
                <a16:creationId xmlns:a16="http://schemas.microsoft.com/office/drawing/2014/main" id="{103E189E-0988-CFA6-33C8-33AB5FA0D6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258888" y="1236663"/>
            <a:ext cx="4373562" cy="4378325"/>
            <a:chOff x="1258888" y="1236663"/>
            <a:chExt cx="4373562" cy="4378325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025A228F-1E94-EE0B-3FD2-C6CEA151F5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8888" y="2582863"/>
              <a:ext cx="3019425" cy="3032125"/>
            </a:xfrm>
            <a:custGeom>
              <a:avLst/>
              <a:gdLst>
                <a:gd name="T0" fmla="*/ 7505 w 16805"/>
                <a:gd name="T1" fmla="*/ 0 h 16880"/>
                <a:gd name="T2" fmla="*/ 7505 w 16805"/>
                <a:gd name="T3" fmla="*/ 0 h 16880"/>
                <a:gd name="T4" fmla="*/ 4651 w 16805"/>
                <a:gd name="T5" fmla="*/ 0 h 16880"/>
                <a:gd name="T6" fmla="*/ 0 w 16805"/>
                <a:gd name="T7" fmla="*/ 4650 h 16880"/>
                <a:gd name="T8" fmla="*/ 4651 w 16805"/>
                <a:gd name="T9" fmla="*/ 9301 h 16880"/>
                <a:gd name="T10" fmla="*/ 4651 w 16805"/>
                <a:gd name="T11" fmla="*/ 9301 h 16880"/>
                <a:gd name="T12" fmla="*/ 7504 w 16805"/>
                <a:gd name="T13" fmla="*/ 9301 h 16880"/>
                <a:gd name="T14" fmla="*/ 7504 w 16805"/>
                <a:gd name="T15" fmla="*/ 12229 h 16880"/>
                <a:gd name="T16" fmla="*/ 12155 w 16805"/>
                <a:gd name="T17" fmla="*/ 16880 h 16880"/>
                <a:gd name="T18" fmla="*/ 16805 w 16805"/>
                <a:gd name="T19" fmla="*/ 12229 h 16880"/>
                <a:gd name="T20" fmla="*/ 16805 w 16805"/>
                <a:gd name="T21" fmla="*/ 0 h 16880"/>
                <a:gd name="T22" fmla="*/ 7505 w 16805"/>
                <a:gd name="T23" fmla="*/ 0 h 16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805" h="16880">
                  <a:moveTo>
                    <a:pt x="7505" y="0"/>
                  </a:moveTo>
                  <a:lnTo>
                    <a:pt x="7505" y="0"/>
                  </a:lnTo>
                  <a:lnTo>
                    <a:pt x="4651" y="0"/>
                  </a:lnTo>
                  <a:cubicBezTo>
                    <a:pt x="2082" y="0"/>
                    <a:pt x="0" y="2082"/>
                    <a:pt x="0" y="4650"/>
                  </a:cubicBezTo>
                  <a:cubicBezTo>
                    <a:pt x="0" y="7219"/>
                    <a:pt x="2082" y="9301"/>
                    <a:pt x="4651" y="9301"/>
                  </a:cubicBezTo>
                  <a:lnTo>
                    <a:pt x="4651" y="9301"/>
                  </a:lnTo>
                  <a:lnTo>
                    <a:pt x="7504" y="9301"/>
                  </a:lnTo>
                  <a:lnTo>
                    <a:pt x="7504" y="12229"/>
                  </a:lnTo>
                  <a:cubicBezTo>
                    <a:pt x="7504" y="14797"/>
                    <a:pt x="9587" y="16880"/>
                    <a:pt x="12155" y="16880"/>
                  </a:cubicBezTo>
                  <a:cubicBezTo>
                    <a:pt x="14723" y="16880"/>
                    <a:pt x="16805" y="14798"/>
                    <a:pt x="16805" y="12229"/>
                  </a:cubicBezTo>
                  <a:lnTo>
                    <a:pt x="16805" y="0"/>
                  </a:lnTo>
                  <a:lnTo>
                    <a:pt x="7505" y="0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5949D61E-C8A7-996D-9B90-ACDE02E54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025" y="1236663"/>
              <a:ext cx="3019425" cy="3032125"/>
            </a:xfrm>
            <a:custGeom>
              <a:avLst/>
              <a:gdLst>
                <a:gd name="T0" fmla="*/ 9300 w 16805"/>
                <a:gd name="T1" fmla="*/ 16880 h 16880"/>
                <a:gd name="T2" fmla="*/ 9300 w 16805"/>
                <a:gd name="T3" fmla="*/ 16880 h 16880"/>
                <a:gd name="T4" fmla="*/ 12154 w 16805"/>
                <a:gd name="T5" fmla="*/ 16880 h 16880"/>
                <a:gd name="T6" fmla="*/ 16805 w 16805"/>
                <a:gd name="T7" fmla="*/ 12229 h 16880"/>
                <a:gd name="T8" fmla="*/ 12154 w 16805"/>
                <a:gd name="T9" fmla="*/ 7579 h 16880"/>
                <a:gd name="T10" fmla="*/ 12154 w 16805"/>
                <a:gd name="T11" fmla="*/ 7579 h 16880"/>
                <a:gd name="T12" fmla="*/ 9300 w 16805"/>
                <a:gd name="T13" fmla="*/ 7579 h 16880"/>
                <a:gd name="T14" fmla="*/ 9300 w 16805"/>
                <a:gd name="T15" fmla="*/ 4651 h 16880"/>
                <a:gd name="T16" fmla="*/ 4650 w 16805"/>
                <a:gd name="T17" fmla="*/ 0 h 16880"/>
                <a:gd name="T18" fmla="*/ 0 w 16805"/>
                <a:gd name="T19" fmla="*/ 4651 h 16880"/>
                <a:gd name="T20" fmla="*/ 0 w 16805"/>
                <a:gd name="T21" fmla="*/ 7489 h 16880"/>
                <a:gd name="T22" fmla="*/ 9300 w 16805"/>
                <a:gd name="T23" fmla="*/ 16880 h 16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805" h="16880">
                  <a:moveTo>
                    <a:pt x="9300" y="16880"/>
                  </a:moveTo>
                  <a:lnTo>
                    <a:pt x="9300" y="16880"/>
                  </a:lnTo>
                  <a:lnTo>
                    <a:pt x="12154" y="16880"/>
                  </a:lnTo>
                  <a:cubicBezTo>
                    <a:pt x="14723" y="16880"/>
                    <a:pt x="16805" y="14798"/>
                    <a:pt x="16805" y="12229"/>
                  </a:cubicBezTo>
                  <a:cubicBezTo>
                    <a:pt x="16805" y="9661"/>
                    <a:pt x="14723" y="7579"/>
                    <a:pt x="12154" y="7579"/>
                  </a:cubicBezTo>
                  <a:lnTo>
                    <a:pt x="12154" y="7579"/>
                  </a:lnTo>
                  <a:lnTo>
                    <a:pt x="9300" y="7579"/>
                  </a:lnTo>
                  <a:lnTo>
                    <a:pt x="9300" y="4651"/>
                  </a:lnTo>
                  <a:cubicBezTo>
                    <a:pt x="9300" y="2082"/>
                    <a:pt x="7218" y="0"/>
                    <a:pt x="4650" y="0"/>
                  </a:cubicBezTo>
                  <a:cubicBezTo>
                    <a:pt x="2082" y="0"/>
                    <a:pt x="0" y="2082"/>
                    <a:pt x="0" y="4651"/>
                  </a:cubicBezTo>
                  <a:lnTo>
                    <a:pt x="0" y="7489"/>
                  </a:lnTo>
                  <a:lnTo>
                    <a:pt x="9300" y="16880"/>
                  </a:lnTo>
                  <a:close/>
                </a:path>
              </a:pathLst>
            </a:custGeom>
            <a:solidFill>
              <a:srgbClr val="FFCF2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6504400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, otsikko ja sisältö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A7EB6BE-E09D-4391-BB19-9AB34E85D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5173" y="882869"/>
            <a:ext cx="4526870" cy="1472950"/>
          </a:xfrm>
        </p:spPr>
        <p:txBody>
          <a:bodyPr/>
          <a:lstStyle>
            <a:lvl1pPr>
              <a:defRPr sz="27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EA7A06A4-1BF6-41E8-89FB-D111961A8A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5173" y="2702660"/>
            <a:ext cx="4526870" cy="347430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0177F-D1AE-4D79-BFFE-C2705DAEA0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DBCA1-6718-470C-94D7-D1B1CBCC0428}" type="datetime1">
              <a:rPr lang="fi-FI" smtClean="0"/>
              <a:t>21.6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D388A3-F45C-4855-8B64-52B1BF9A5B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221093-58DE-4EB6-89DB-B88D32F62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‹#›</a:t>
            </a:fld>
            <a:endParaRPr lang="fi-FI"/>
          </a:p>
        </p:txBody>
      </p:sp>
      <p:grpSp>
        <p:nvGrpSpPr>
          <p:cNvPr id="11" name="Ryhmä 10">
            <a:extLst>
              <a:ext uri="{FF2B5EF4-FFF2-40B4-BE49-F238E27FC236}">
                <a16:creationId xmlns:a16="http://schemas.microsoft.com/office/drawing/2014/main" id="{260872AF-7549-52D3-5811-9970CB46BA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6922041" y="1236813"/>
            <a:ext cx="4363468" cy="4369557"/>
            <a:chOff x="1241951" y="1236813"/>
            <a:chExt cx="4363468" cy="4369557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CB7CC17C-7C3D-85C8-B61C-A3AEF3CC8D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1951" y="2590503"/>
              <a:ext cx="4363468" cy="1662177"/>
            </a:xfrm>
            <a:custGeom>
              <a:avLst/>
              <a:gdLst>
                <a:gd name="T0" fmla="*/ 19685 w 24342"/>
                <a:gd name="T1" fmla="*/ 0 h 9268"/>
                <a:gd name="T2" fmla="*/ 19685 w 24342"/>
                <a:gd name="T3" fmla="*/ 0 h 9268"/>
                <a:gd name="T4" fmla="*/ 4657 w 24342"/>
                <a:gd name="T5" fmla="*/ 0 h 9268"/>
                <a:gd name="T6" fmla="*/ 0 w 24342"/>
                <a:gd name="T7" fmla="*/ 4634 h 9268"/>
                <a:gd name="T8" fmla="*/ 4657 w 24342"/>
                <a:gd name="T9" fmla="*/ 9268 h 9268"/>
                <a:gd name="T10" fmla="*/ 4657 w 24342"/>
                <a:gd name="T11" fmla="*/ 9268 h 9268"/>
                <a:gd name="T12" fmla="*/ 19685 w 24342"/>
                <a:gd name="T13" fmla="*/ 9268 h 9268"/>
                <a:gd name="T14" fmla="*/ 24342 w 24342"/>
                <a:gd name="T15" fmla="*/ 4634 h 9268"/>
                <a:gd name="T16" fmla="*/ 19685 w 24342"/>
                <a:gd name="T17" fmla="*/ 0 h 9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342" h="9268">
                  <a:moveTo>
                    <a:pt x="19685" y="0"/>
                  </a:moveTo>
                  <a:lnTo>
                    <a:pt x="19685" y="0"/>
                  </a:lnTo>
                  <a:lnTo>
                    <a:pt x="4657" y="0"/>
                  </a:lnTo>
                  <a:cubicBezTo>
                    <a:pt x="2085" y="0"/>
                    <a:pt x="0" y="2074"/>
                    <a:pt x="0" y="4634"/>
                  </a:cubicBezTo>
                  <a:cubicBezTo>
                    <a:pt x="0" y="7193"/>
                    <a:pt x="2085" y="9268"/>
                    <a:pt x="4657" y="9268"/>
                  </a:cubicBezTo>
                  <a:lnTo>
                    <a:pt x="4657" y="9268"/>
                  </a:lnTo>
                  <a:lnTo>
                    <a:pt x="19685" y="9268"/>
                  </a:lnTo>
                  <a:cubicBezTo>
                    <a:pt x="22257" y="9268"/>
                    <a:pt x="24342" y="7193"/>
                    <a:pt x="24342" y="4634"/>
                  </a:cubicBezTo>
                  <a:cubicBezTo>
                    <a:pt x="24342" y="2074"/>
                    <a:pt x="22257" y="0"/>
                    <a:pt x="19685" y="0"/>
                  </a:cubicBez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493E644D-C567-1C85-DE46-06C929B8E4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88538" y="1236813"/>
              <a:ext cx="1670295" cy="4369557"/>
            </a:xfrm>
            <a:custGeom>
              <a:avLst/>
              <a:gdLst>
                <a:gd name="T0" fmla="*/ 9314 w 9314"/>
                <a:gd name="T1" fmla="*/ 4634 h 24374"/>
                <a:gd name="T2" fmla="*/ 4657 w 9314"/>
                <a:gd name="T3" fmla="*/ 0 h 24374"/>
                <a:gd name="T4" fmla="*/ 0 w 9314"/>
                <a:gd name="T5" fmla="*/ 4634 h 24374"/>
                <a:gd name="T6" fmla="*/ 0 w 9314"/>
                <a:gd name="T7" fmla="*/ 19739 h 24374"/>
                <a:gd name="T8" fmla="*/ 4657 w 9314"/>
                <a:gd name="T9" fmla="*/ 24374 h 24374"/>
                <a:gd name="T10" fmla="*/ 9314 w 9314"/>
                <a:gd name="T11" fmla="*/ 19739 h 24374"/>
                <a:gd name="T12" fmla="*/ 9314 w 9314"/>
                <a:gd name="T13" fmla="*/ 4634 h 24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14" h="24374">
                  <a:moveTo>
                    <a:pt x="9314" y="4634"/>
                  </a:moveTo>
                  <a:cubicBezTo>
                    <a:pt x="9314" y="2075"/>
                    <a:pt x="7229" y="0"/>
                    <a:pt x="4657" y="0"/>
                  </a:cubicBezTo>
                  <a:cubicBezTo>
                    <a:pt x="2085" y="0"/>
                    <a:pt x="0" y="2075"/>
                    <a:pt x="0" y="4634"/>
                  </a:cubicBezTo>
                  <a:lnTo>
                    <a:pt x="0" y="19739"/>
                  </a:lnTo>
                  <a:cubicBezTo>
                    <a:pt x="0" y="22299"/>
                    <a:pt x="2085" y="24374"/>
                    <a:pt x="4657" y="24374"/>
                  </a:cubicBezTo>
                  <a:cubicBezTo>
                    <a:pt x="7229" y="24374"/>
                    <a:pt x="9314" y="22299"/>
                    <a:pt x="9314" y="19739"/>
                  </a:cubicBezTo>
                  <a:lnTo>
                    <a:pt x="9314" y="4634"/>
                  </a:lnTo>
                  <a:close/>
                </a:path>
              </a:pathLst>
            </a:custGeom>
            <a:solidFill>
              <a:srgbClr val="FFCF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Oval 7">
              <a:extLst>
                <a:ext uri="{FF2B5EF4-FFF2-40B4-BE49-F238E27FC236}">
                  <a16:creationId xmlns:a16="http://schemas.microsoft.com/office/drawing/2014/main" id="{3F85D62D-8F97-F47A-F447-AAF36AEBB8E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74608" y="5065504"/>
              <a:ext cx="103506" cy="10249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Oval 8">
              <a:extLst>
                <a:ext uri="{FF2B5EF4-FFF2-40B4-BE49-F238E27FC236}">
                  <a16:creationId xmlns:a16="http://schemas.microsoft.com/office/drawing/2014/main" id="{8440B825-6540-CA68-E72C-F965BECFCCC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74608" y="4752957"/>
              <a:ext cx="103506" cy="1035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Oval 9">
              <a:extLst>
                <a:ext uri="{FF2B5EF4-FFF2-40B4-BE49-F238E27FC236}">
                  <a16:creationId xmlns:a16="http://schemas.microsoft.com/office/drawing/2014/main" id="{E9CD2784-E245-AB98-D25E-D7F184C1356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74608" y="4441426"/>
              <a:ext cx="103506" cy="1035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Oval 10">
              <a:extLst>
                <a:ext uri="{FF2B5EF4-FFF2-40B4-BE49-F238E27FC236}">
                  <a16:creationId xmlns:a16="http://schemas.microsoft.com/office/drawing/2014/main" id="{9CE85037-ADE9-EBB7-01B8-52F6F36CFBB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71933" y="5065504"/>
              <a:ext cx="103506" cy="10249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Oval 11">
              <a:extLst>
                <a:ext uri="{FF2B5EF4-FFF2-40B4-BE49-F238E27FC236}">
                  <a16:creationId xmlns:a16="http://schemas.microsoft.com/office/drawing/2014/main" id="{E9D6102F-E683-81FC-F2A2-E666D547699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71933" y="4752957"/>
              <a:ext cx="103506" cy="1035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Oval 12">
              <a:extLst>
                <a:ext uri="{FF2B5EF4-FFF2-40B4-BE49-F238E27FC236}">
                  <a16:creationId xmlns:a16="http://schemas.microsoft.com/office/drawing/2014/main" id="{C51E74FC-40A9-9261-534B-35FA14FE6E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71933" y="4441426"/>
              <a:ext cx="103506" cy="1035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1" name="Oval 13">
              <a:extLst>
                <a:ext uri="{FF2B5EF4-FFF2-40B4-BE49-F238E27FC236}">
                  <a16:creationId xmlns:a16="http://schemas.microsoft.com/office/drawing/2014/main" id="{A91741DF-FA2E-697A-2BAD-5C6025734E5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670272" y="5065504"/>
              <a:ext cx="103506" cy="10249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2" name="Oval 14">
              <a:extLst>
                <a:ext uri="{FF2B5EF4-FFF2-40B4-BE49-F238E27FC236}">
                  <a16:creationId xmlns:a16="http://schemas.microsoft.com/office/drawing/2014/main" id="{262597D5-40C9-DD3E-8346-B006C09C8E2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670272" y="4752957"/>
              <a:ext cx="103506" cy="1035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Oval 15">
              <a:extLst>
                <a:ext uri="{FF2B5EF4-FFF2-40B4-BE49-F238E27FC236}">
                  <a16:creationId xmlns:a16="http://schemas.microsoft.com/office/drawing/2014/main" id="{FBD042E0-9042-CE27-3544-319FD86CEDB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670272" y="4441426"/>
              <a:ext cx="103506" cy="1035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Oval 16">
              <a:extLst>
                <a:ext uri="{FF2B5EF4-FFF2-40B4-BE49-F238E27FC236}">
                  <a16:creationId xmlns:a16="http://schemas.microsoft.com/office/drawing/2014/main" id="{51FF12C0-B74D-C676-DB59-5C295B21AE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74608" y="2299267"/>
              <a:ext cx="103506" cy="10249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Oval 17">
              <a:extLst>
                <a:ext uri="{FF2B5EF4-FFF2-40B4-BE49-F238E27FC236}">
                  <a16:creationId xmlns:a16="http://schemas.microsoft.com/office/drawing/2014/main" id="{B1EFF707-CBB0-70D4-AA21-45470011E2F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74608" y="1986721"/>
              <a:ext cx="103506" cy="1035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Oval 18">
              <a:extLst>
                <a:ext uri="{FF2B5EF4-FFF2-40B4-BE49-F238E27FC236}">
                  <a16:creationId xmlns:a16="http://schemas.microsoft.com/office/drawing/2014/main" id="{0D890000-F8FB-5097-869F-687381CB2A0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74608" y="1675190"/>
              <a:ext cx="103506" cy="1035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Oval 19">
              <a:extLst>
                <a:ext uri="{FF2B5EF4-FFF2-40B4-BE49-F238E27FC236}">
                  <a16:creationId xmlns:a16="http://schemas.microsoft.com/office/drawing/2014/main" id="{4C7F3A47-80CF-C2C7-E03D-E0424CB595B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71933" y="2299267"/>
              <a:ext cx="103506" cy="10249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8" name="Oval 20">
              <a:extLst>
                <a:ext uri="{FF2B5EF4-FFF2-40B4-BE49-F238E27FC236}">
                  <a16:creationId xmlns:a16="http://schemas.microsoft.com/office/drawing/2014/main" id="{1F75AF2F-19EF-F03E-2C3A-2C9E23EA4DD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71933" y="1986721"/>
              <a:ext cx="103506" cy="1035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9" name="Oval 21">
              <a:extLst>
                <a:ext uri="{FF2B5EF4-FFF2-40B4-BE49-F238E27FC236}">
                  <a16:creationId xmlns:a16="http://schemas.microsoft.com/office/drawing/2014/main" id="{0A771DF0-43B7-25EC-810E-D34388CA1F2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71933" y="1675190"/>
              <a:ext cx="103506" cy="1035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0" name="Oval 22">
              <a:extLst>
                <a:ext uri="{FF2B5EF4-FFF2-40B4-BE49-F238E27FC236}">
                  <a16:creationId xmlns:a16="http://schemas.microsoft.com/office/drawing/2014/main" id="{652EFEE1-8A21-E11F-0984-53ACB57DD03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670272" y="2299267"/>
              <a:ext cx="103506" cy="10249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1" name="Oval 23">
              <a:extLst>
                <a:ext uri="{FF2B5EF4-FFF2-40B4-BE49-F238E27FC236}">
                  <a16:creationId xmlns:a16="http://schemas.microsoft.com/office/drawing/2014/main" id="{2AA8A966-3CAB-8AD9-358A-AE6FC3F7A8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670272" y="1986721"/>
              <a:ext cx="103506" cy="1035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2" name="Oval 24">
              <a:extLst>
                <a:ext uri="{FF2B5EF4-FFF2-40B4-BE49-F238E27FC236}">
                  <a16:creationId xmlns:a16="http://schemas.microsoft.com/office/drawing/2014/main" id="{84B0EFFB-3DD9-18E4-1598-A475FAC44D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670272" y="1675190"/>
              <a:ext cx="103506" cy="1035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3" name="Oval 25">
              <a:extLst>
                <a:ext uri="{FF2B5EF4-FFF2-40B4-BE49-F238E27FC236}">
                  <a16:creationId xmlns:a16="http://schemas.microsoft.com/office/drawing/2014/main" id="{51A1648C-508A-DF7C-48EB-6B7DC7BFF8C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68151" y="307251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4" name="Oval 26">
              <a:extLst>
                <a:ext uri="{FF2B5EF4-FFF2-40B4-BE49-F238E27FC236}">
                  <a16:creationId xmlns:a16="http://schemas.microsoft.com/office/drawing/2014/main" id="{A55B81C9-B288-1E34-EF33-2713E3FD600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80697" y="307251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5" name="Oval 27">
              <a:extLst>
                <a:ext uri="{FF2B5EF4-FFF2-40B4-BE49-F238E27FC236}">
                  <a16:creationId xmlns:a16="http://schemas.microsoft.com/office/drawing/2014/main" id="{F845C20F-6144-CDAA-4EA2-4D22A68A66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94258" y="307251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6" name="Oval 28">
              <a:extLst>
                <a:ext uri="{FF2B5EF4-FFF2-40B4-BE49-F238E27FC236}">
                  <a16:creationId xmlns:a16="http://schemas.microsoft.com/office/drawing/2014/main" id="{20118B17-32BC-31DC-34ED-9F4FEF72415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68151" y="336882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7" name="Oval 29">
              <a:extLst>
                <a:ext uri="{FF2B5EF4-FFF2-40B4-BE49-F238E27FC236}">
                  <a16:creationId xmlns:a16="http://schemas.microsoft.com/office/drawing/2014/main" id="{9C4B50F3-9BF5-D211-DC55-392DBAC057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80697" y="336882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8" name="Oval 30">
              <a:extLst>
                <a:ext uri="{FF2B5EF4-FFF2-40B4-BE49-F238E27FC236}">
                  <a16:creationId xmlns:a16="http://schemas.microsoft.com/office/drawing/2014/main" id="{DF0BFE20-5E99-E793-D230-7DA63A15DC6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94258" y="336882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9" name="Oval 31">
              <a:extLst>
                <a:ext uri="{FF2B5EF4-FFF2-40B4-BE49-F238E27FC236}">
                  <a16:creationId xmlns:a16="http://schemas.microsoft.com/office/drawing/2014/main" id="{2969407D-6F13-CA5E-AC43-1E0F8C9E91E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68151" y="366513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0" name="Oval 32">
              <a:extLst>
                <a:ext uri="{FF2B5EF4-FFF2-40B4-BE49-F238E27FC236}">
                  <a16:creationId xmlns:a16="http://schemas.microsoft.com/office/drawing/2014/main" id="{001F449E-A2C4-78E4-7382-C4107DFE8AF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80697" y="366513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1" name="Oval 33">
              <a:extLst>
                <a:ext uri="{FF2B5EF4-FFF2-40B4-BE49-F238E27FC236}">
                  <a16:creationId xmlns:a16="http://schemas.microsoft.com/office/drawing/2014/main" id="{B7DDBD15-D845-8BA5-AB9C-63FACD067EC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94258" y="366513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2" name="Oval 34">
              <a:extLst>
                <a:ext uri="{FF2B5EF4-FFF2-40B4-BE49-F238E27FC236}">
                  <a16:creationId xmlns:a16="http://schemas.microsoft.com/office/drawing/2014/main" id="{E51613CF-BA5F-4A1F-F39D-EA9E0AC79D2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46564" y="307251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3" name="Oval 35">
              <a:extLst>
                <a:ext uri="{FF2B5EF4-FFF2-40B4-BE49-F238E27FC236}">
                  <a16:creationId xmlns:a16="http://schemas.microsoft.com/office/drawing/2014/main" id="{60864246-C52F-2BEA-68DF-9F43C22F772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60125" y="307251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4" name="Oval 36">
              <a:extLst>
                <a:ext uri="{FF2B5EF4-FFF2-40B4-BE49-F238E27FC236}">
                  <a16:creationId xmlns:a16="http://schemas.microsoft.com/office/drawing/2014/main" id="{9292DCEB-168A-96B0-3187-430BB5105C8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073685" y="307251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5" name="Oval 37">
              <a:extLst>
                <a:ext uri="{FF2B5EF4-FFF2-40B4-BE49-F238E27FC236}">
                  <a16:creationId xmlns:a16="http://schemas.microsoft.com/office/drawing/2014/main" id="{FAD1CB9B-8B42-55DD-4CA8-778C7A76B3D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46564" y="336882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6" name="Oval 38">
              <a:extLst>
                <a:ext uri="{FF2B5EF4-FFF2-40B4-BE49-F238E27FC236}">
                  <a16:creationId xmlns:a16="http://schemas.microsoft.com/office/drawing/2014/main" id="{7D4DF5E5-161F-CF4C-0C51-25A307BB0FC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60125" y="336882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7" name="Oval 39">
              <a:extLst>
                <a:ext uri="{FF2B5EF4-FFF2-40B4-BE49-F238E27FC236}">
                  <a16:creationId xmlns:a16="http://schemas.microsoft.com/office/drawing/2014/main" id="{BB1AD928-DCBF-1E8F-58E1-73B9AB642AC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073685" y="336882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8" name="Oval 40">
              <a:extLst>
                <a:ext uri="{FF2B5EF4-FFF2-40B4-BE49-F238E27FC236}">
                  <a16:creationId xmlns:a16="http://schemas.microsoft.com/office/drawing/2014/main" id="{CA46CE77-CD42-C7D4-9C50-BC7FEE1D27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46564" y="366513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9" name="Oval 41">
              <a:extLst>
                <a:ext uri="{FF2B5EF4-FFF2-40B4-BE49-F238E27FC236}">
                  <a16:creationId xmlns:a16="http://schemas.microsoft.com/office/drawing/2014/main" id="{BD18FEF2-CD4D-4421-F8AF-72B122D6D76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60125" y="366513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50" name="Oval 42">
              <a:extLst>
                <a:ext uri="{FF2B5EF4-FFF2-40B4-BE49-F238E27FC236}">
                  <a16:creationId xmlns:a16="http://schemas.microsoft.com/office/drawing/2014/main" id="{A1F65104-630C-F24F-9B1F-DA602579AA0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073685" y="366513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825550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, otsikko ja sisältö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A7EB6BE-E09D-4391-BB19-9AB34E85D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2741" y="882869"/>
            <a:ext cx="4599785" cy="1472950"/>
          </a:xfrm>
        </p:spPr>
        <p:txBody>
          <a:bodyPr/>
          <a:lstStyle>
            <a:lvl1pPr>
              <a:defRPr sz="30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EA7A06A4-1BF6-41E8-89FB-D111961A8A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02741" y="2702660"/>
            <a:ext cx="4599785" cy="347430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0177F-D1AE-4D79-BFFE-C2705DAEA0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79902-CAD0-49B3-A6AE-B1BB883B1100}" type="datetime1">
              <a:rPr lang="fi-FI" smtClean="0"/>
              <a:t>21.6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D388A3-F45C-4855-8B64-52B1BF9A5B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221093-58DE-4EB6-89DB-B88D32F62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‹#›</a:t>
            </a:fld>
            <a:endParaRPr lang="fi-FI"/>
          </a:p>
        </p:txBody>
      </p:sp>
      <p:grpSp>
        <p:nvGrpSpPr>
          <p:cNvPr id="12" name="Ryhmä 11">
            <a:extLst>
              <a:ext uri="{FF2B5EF4-FFF2-40B4-BE49-F238E27FC236}">
                <a16:creationId xmlns:a16="http://schemas.microsoft.com/office/drawing/2014/main" id="{63892158-4F70-8BB9-8D31-A46BB4BB69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rot="13500000">
            <a:off x="1511863" y="714870"/>
            <a:ext cx="3839687" cy="3817528"/>
            <a:chOff x="1511863" y="1519367"/>
            <a:chExt cx="3839687" cy="3817528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0FE1FF69-D414-452C-2978-0204BFF431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1863" y="1519367"/>
              <a:ext cx="2113955" cy="3817528"/>
            </a:xfrm>
            <a:custGeom>
              <a:avLst/>
              <a:gdLst>
                <a:gd name="T0" fmla="*/ 81 w 11800"/>
                <a:gd name="T1" fmla="*/ 0 h 21307"/>
                <a:gd name="T2" fmla="*/ 14 w 11800"/>
                <a:gd name="T3" fmla="*/ 15382 h 21307"/>
                <a:gd name="T4" fmla="*/ 5874 w 11800"/>
                <a:gd name="T5" fmla="*/ 21293 h 21307"/>
                <a:gd name="T6" fmla="*/ 11785 w 11800"/>
                <a:gd name="T7" fmla="*/ 15434 h 21307"/>
                <a:gd name="T8" fmla="*/ 11785 w 11800"/>
                <a:gd name="T9" fmla="*/ 15433 h 21307"/>
                <a:gd name="T10" fmla="*/ 11800 w 11800"/>
                <a:gd name="T11" fmla="*/ 11822 h 21307"/>
                <a:gd name="T12" fmla="*/ 81 w 11800"/>
                <a:gd name="T13" fmla="*/ 0 h 21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800" h="21307">
                  <a:moveTo>
                    <a:pt x="81" y="0"/>
                  </a:moveTo>
                  <a:lnTo>
                    <a:pt x="14" y="15382"/>
                  </a:lnTo>
                  <a:cubicBezTo>
                    <a:pt x="0" y="18633"/>
                    <a:pt x="2623" y="21279"/>
                    <a:pt x="5874" y="21293"/>
                  </a:cubicBezTo>
                  <a:cubicBezTo>
                    <a:pt x="9124" y="21307"/>
                    <a:pt x="11771" y="18684"/>
                    <a:pt x="11785" y="15434"/>
                  </a:cubicBezTo>
                  <a:lnTo>
                    <a:pt x="11785" y="15433"/>
                  </a:lnTo>
                  <a:lnTo>
                    <a:pt x="11800" y="11822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2F9FE427-9837-55B0-6C6E-EC3982452E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26044" y="1519367"/>
              <a:ext cx="3825506" cy="2123705"/>
            </a:xfrm>
            <a:custGeom>
              <a:avLst/>
              <a:gdLst>
                <a:gd name="T0" fmla="*/ 11719 w 21350"/>
                <a:gd name="T1" fmla="*/ 11822 h 11852"/>
                <a:gd name="T2" fmla="*/ 15425 w 21350"/>
                <a:gd name="T3" fmla="*/ 11838 h 11852"/>
                <a:gd name="T4" fmla="*/ 21336 w 21350"/>
                <a:gd name="T5" fmla="*/ 5979 h 11852"/>
                <a:gd name="T6" fmla="*/ 15477 w 21350"/>
                <a:gd name="T7" fmla="*/ 68 h 11852"/>
                <a:gd name="T8" fmla="*/ 0 w 21350"/>
                <a:gd name="T9" fmla="*/ 0 h 11852"/>
                <a:gd name="T10" fmla="*/ 11719 w 21350"/>
                <a:gd name="T11" fmla="*/ 11822 h 11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350" h="11852">
                  <a:moveTo>
                    <a:pt x="11719" y="11822"/>
                  </a:moveTo>
                  <a:lnTo>
                    <a:pt x="15425" y="11838"/>
                  </a:lnTo>
                  <a:cubicBezTo>
                    <a:pt x="18676" y="11852"/>
                    <a:pt x="21322" y="9229"/>
                    <a:pt x="21336" y="5979"/>
                  </a:cubicBezTo>
                  <a:cubicBezTo>
                    <a:pt x="21350" y="2728"/>
                    <a:pt x="18727" y="82"/>
                    <a:pt x="15477" y="68"/>
                  </a:cubicBezTo>
                  <a:cubicBezTo>
                    <a:pt x="15477" y="68"/>
                    <a:pt x="0" y="0"/>
                    <a:pt x="0" y="0"/>
                  </a:cubicBezTo>
                  <a:lnTo>
                    <a:pt x="11719" y="11822"/>
                  </a:lnTo>
                  <a:close/>
                </a:path>
              </a:pathLst>
            </a:custGeom>
            <a:solidFill>
              <a:srgbClr val="FFCF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4506008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9D4FB9D-D480-450E-ABEE-85694599AF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A291936-39C5-4003-8862-5510EDEF29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82A40-35B0-4D7D-958D-06F87EF0DFE4}" type="datetime1">
              <a:rPr lang="fi-FI" smtClean="0"/>
              <a:t>21.6.2023</a:t>
            </a:fld>
            <a:endParaRPr lang="fi-FI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716593F-3851-4098-9C47-5C117FECA4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9D1CF5D-3D1A-4FCE-9AAC-FFF0CA0A53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022201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830319-299B-41C0-A3B8-24C0B6F24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257FEF-036F-4DD9-A34E-C33B00CCAEC9}" type="datetime1">
              <a:rPr lang="fi-FI" smtClean="0"/>
              <a:t>21.6.2023</a:t>
            </a:fld>
            <a:endParaRPr lang="fi-FI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8FEEDFC-EA37-4158-B7F3-5B0FB1E110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FCDAD4-2E88-41A9-ABA8-397CF43526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579646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Yhteystied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 descr="Keltamusta logo, jossa yhdistyy sydämen, nuolen ja p-kirjaimen muodot sekä harmaa teksti Pohjois-Savon hyvinvointialue.">
            <a:extLst>
              <a:ext uri="{FF2B5EF4-FFF2-40B4-BE49-F238E27FC236}">
                <a16:creationId xmlns:a16="http://schemas.microsoft.com/office/drawing/2014/main" id="{A44C85D0-3A12-439B-B64D-1177ED1A5B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6510" y="2316044"/>
            <a:ext cx="5102002" cy="1103135"/>
          </a:xfrm>
          <a:prstGeom prst="rect">
            <a:avLst/>
          </a:prstGeom>
        </p:spPr>
      </p:pic>
      <p:sp>
        <p:nvSpPr>
          <p:cNvPr id="10" name="Tekstin paikkamerkki 9">
            <a:extLst>
              <a:ext uri="{FF2B5EF4-FFF2-40B4-BE49-F238E27FC236}">
                <a16:creationId xmlns:a16="http://schemas.microsoft.com/office/drawing/2014/main" id="{961B21A4-5EC6-445A-A90D-6071C40088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78808" y="4414268"/>
            <a:ext cx="5635625" cy="324000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2000" b="1"/>
            </a:lvl1pPr>
            <a:lvl2pPr marL="358775" indent="0">
              <a:buNone/>
              <a:defRPr/>
            </a:lvl2pPr>
          </a:lstStyle>
          <a:p>
            <a:pPr lvl="0"/>
            <a:r>
              <a:rPr lang="fi-FI"/>
              <a:t>Nimi</a:t>
            </a:r>
          </a:p>
        </p:txBody>
      </p:sp>
      <p:sp>
        <p:nvSpPr>
          <p:cNvPr id="11" name="Tekstin paikkamerkki 9">
            <a:extLst>
              <a:ext uri="{FF2B5EF4-FFF2-40B4-BE49-F238E27FC236}">
                <a16:creationId xmlns:a16="http://schemas.microsoft.com/office/drawing/2014/main" id="{A162947A-7B3B-4773-BD0B-2A50614024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78808" y="4729579"/>
            <a:ext cx="5635625" cy="324000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2000" b="0"/>
            </a:lvl1pPr>
            <a:lvl2pPr marL="358775" indent="0">
              <a:buNone/>
              <a:defRPr/>
            </a:lvl2pPr>
          </a:lstStyle>
          <a:p>
            <a:pPr lvl="0"/>
            <a:r>
              <a:rPr lang="fi-FI" err="1"/>
              <a:t>email</a:t>
            </a:r>
            <a:endParaRPr lang="fi-FI"/>
          </a:p>
        </p:txBody>
      </p:sp>
      <p:sp>
        <p:nvSpPr>
          <p:cNvPr id="12" name="Tekstin paikkamerkki 9">
            <a:extLst>
              <a:ext uri="{FF2B5EF4-FFF2-40B4-BE49-F238E27FC236}">
                <a16:creationId xmlns:a16="http://schemas.microsoft.com/office/drawing/2014/main" id="{4A7E9CFC-CD4E-4140-8A53-CE7CB803A8F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78808" y="5071915"/>
            <a:ext cx="5635625" cy="324000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2000" b="0"/>
            </a:lvl1pPr>
            <a:lvl2pPr marL="358775" indent="0">
              <a:buNone/>
              <a:defRPr/>
            </a:lvl2pPr>
          </a:lstStyle>
          <a:p>
            <a:pPr lvl="0"/>
            <a:r>
              <a:rPr lang="fi-FI"/>
              <a:t>puhelinnumero</a:t>
            </a:r>
          </a:p>
        </p:txBody>
      </p:sp>
    </p:spTree>
    <p:extLst>
      <p:ext uri="{BB962C8B-B14F-4D97-AF65-F5344CB8AC3E}">
        <p14:creationId xmlns:p14="http://schemas.microsoft.com/office/powerpoint/2010/main" val="39701351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E43FE4-FB6C-45D5-BED5-AFA0DAE40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‹#›</a:t>
            </a:fld>
            <a:endParaRPr lang="fi-FI"/>
          </a:p>
        </p:txBody>
      </p:sp>
      <p:grpSp>
        <p:nvGrpSpPr>
          <p:cNvPr id="4" name="Ryhmä 3">
            <a:extLst>
              <a:ext uri="{FF2B5EF4-FFF2-40B4-BE49-F238E27FC236}">
                <a16:creationId xmlns:a16="http://schemas.microsoft.com/office/drawing/2014/main" id="{B8186AD1-C9EC-4C8C-92D3-080BA546F2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rot="13500000">
            <a:off x="1511863" y="714870"/>
            <a:ext cx="3839687" cy="3817528"/>
            <a:chOff x="1511863" y="1519367"/>
            <a:chExt cx="3839687" cy="381752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046FE190-C127-4DF1-9753-943E4F4D15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1863" y="1519367"/>
              <a:ext cx="2113955" cy="3817528"/>
            </a:xfrm>
            <a:custGeom>
              <a:avLst/>
              <a:gdLst>
                <a:gd name="T0" fmla="*/ 81 w 11800"/>
                <a:gd name="T1" fmla="*/ 0 h 21307"/>
                <a:gd name="T2" fmla="*/ 14 w 11800"/>
                <a:gd name="T3" fmla="*/ 15382 h 21307"/>
                <a:gd name="T4" fmla="*/ 5874 w 11800"/>
                <a:gd name="T5" fmla="*/ 21293 h 21307"/>
                <a:gd name="T6" fmla="*/ 11785 w 11800"/>
                <a:gd name="T7" fmla="*/ 15434 h 21307"/>
                <a:gd name="T8" fmla="*/ 11785 w 11800"/>
                <a:gd name="T9" fmla="*/ 15433 h 21307"/>
                <a:gd name="T10" fmla="*/ 11800 w 11800"/>
                <a:gd name="T11" fmla="*/ 11822 h 21307"/>
                <a:gd name="T12" fmla="*/ 81 w 11800"/>
                <a:gd name="T13" fmla="*/ 0 h 21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800" h="21307">
                  <a:moveTo>
                    <a:pt x="81" y="0"/>
                  </a:moveTo>
                  <a:lnTo>
                    <a:pt x="14" y="15382"/>
                  </a:lnTo>
                  <a:cubicBezTo>
                    <a:pt x="0" y="18633"/>
                    <a:pt x="2623" y="21279"/>
                    <a:pt x="5874" y="21293"/>
                  </a:cubicBezTo>
                  <a:cubicBezTo>
                    <a:pt x="9124" y="21307"/>
                    <a:pt x="11771" y="18684"/>
                    <a:pt x="11785" y="15434"/>
                  </a:cubicBezTo>
                  <a:lnTo>
                    <a:pt x="11785" y="15433"/>
                  </a:lnTo>
                  <a:lnTo>
                    <a:pt x="11800" y="11822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BA2F6220-49B1-4E5F-B84B-BD29EA985B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26044" y="1519367"/>
              <a:ext cx="3825506" cy="2123705"/>
            </a:xfrm>
            <a:custGeom>
              <a:avLst/>
              <a:gdLst>
                <a:gd name="T0" fmla="*/ 11719 w 21350"/>
                <a:gd name="T1" fmla="*/ 11822 h 11852"/>
                <a:gd name="T2" fmla="*/ 15425 w 21350"/>
                <a:gd name="T3" fmla="*/ 11838 h 11852"/>
                <a:gd name="T4" fmla="*/ 21336 w 21350"/>
                <a:gd name="T5" fmla="*/ 5979 h 11852"/>
                <a:gd name="T6" fmla="*/ 15477 w 21350"/>
                <a:gd name="T7" fmla="*/ 68 h 11852"/>
                <a:gd name="T8" fmla="*/ 0 w 21350"/>
                <a:gd name="T9" fmla="*/ 0 h 11852"/>
                <a:gd name="T10" fmla="*/ 11719 w 21350"/>
                <a:gd name="T11" fmla="*/ 11822 h 11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350" h="11852">
                  <a:moveTo>
                    <a:pt x="11719" y="11822"/>
                  </a:moveTo>
                  <a:lnTo>
                    <a:pt x="15425" y="11838"/>
                  </a:lnTo>
                  <a:cubicBezTo>
                    <a:pt x="18676" y="11852"/>
                    <a:pt x="21322" y="9229"/>
                    <a:pt x="21336" y="5979"/>
                  </a:cubicBezTo>
                  <a:cubicBezTo>
                    <a:pt x="21350" y="2728"/>
                    <a:pt x="18727" y="82"/>
                    <a:pt x="15477" y="68"/>
                  </a:cubicBezTo>
                  <a:cubicBezTo>
                    <a:pt x="15477" y="68"/>
                    <a:pt x="0" y="0"/>
                    <a:pt x="0" y="0"/>
                  </a:cubicBezTo>
                  <a:lnTo>
                    <a:pt x="11719" y="11822"/>
                  </a:lnTo>
                  <a:close/>
                </a:path>
              </a:pathLst>
            </a:custGeom>
            <a:solidFill>
              <a:srgbClr val="FFCF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8" name="Otsikko 1">
            <a:extLst>
              <a:ext uri="{FF2B5EF4-FFF2-40B4-BE49-F238E27FC236}">
                <a16:creationId xmlns:a16="http://schemas.microsoft.com/office/drawing/2014/main" id="{465B6997-1946-0DAA-CEE5-218AA31F11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437179"/>
            <a:ext cx="5355982" cy="2468071"/>
          </a:xfrm>
        </p:spPr>
        <p:txBody>
          <a:bodyPr anchor="t" anchorCtr="0">
            <a:normAutofit/>
          </a:bodyPr>
          <a:lstStyle>
            <a:lvl1pPr algn="ctr">
              <a:defRPr sz="4000" spc="-50" baseline="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9" name="Alaotsikko 2">
            <a:extLst>
              <a:ext uri="{FF2B5EF4-FFF2-40B4-BE49-F238E27FC236}">
                <a16:creationId xmlns:a16="http://schemas.microsoft.com/office/drawing/2014/main" id="{70B1218C-769E-330B-357E-5F6F31BC3E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4329873"/>
            <a:ext cx="5355982" cy="1217735"/>
          </a:xfrm>
        </p:spPr>
        <p:txBody>
          <a:bodyPr/>
          <a:lstStyle>
            <a:lvl1pPr marL="0" indent="0" algn="ctr">
              <a:buNone/>
              <a:defRPr sz="2200" spc="-2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</p:spTree>
    <p:extLst>
      <p:ext uri="{BB962C8B-B14F-4D97-AF65-F5344CB8AC3E}">
        <p14:creationId xmlns:p14="http://schemas.microsoft.com/office/powerpoint/2010/main" val="29282878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ininen-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374DAFBE-1507-CF40-B0FE-4B5AFC353E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820" y="486750"/>
            <a:ext cx="10669700" cy="7819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0175BF"/>
                </a:solidFill>
                <a:latin typeface="Helvetica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1E26663-2408-394A-ACD8-D0A2E6E3A50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29820" y="1561365"/>
            <a:ext cx="10669700" cy="420668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>
                <a:solidFill>
                  <a:schemeClr val="tx2"/>
                </a:solidFill>
              </a:defRPr>
            </a:lvl1pPr>
            <a:lvl2pPr>
              <a:defRPr sz="160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24C677C-4FD9-8D46-B1D5-7B944FFF9CBB}"/>
              </a:ext>
            </a:extLst>
          </p:cNvPr>
          <p:cNvSpPr/>
          <p:nvPr userDrawn="1"/>
        </p:nvSpPr>
        <p:spPr>
          <a:xfrm>
            <a:off x="498030" y="476590"/>
            <a:ext cx="125210" cy="792110"/>
          </a:xfrm>
          <a:prstGeom prst="rect">
            <a:avLst/>
          </a:prstGeom>
          <a:solidFill>
            <a:srgbClr val="FC9190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endParaRPr lang="fi-FI" sz="1400" b="1" err="1">
              <a:solidFill>
                <a:srgbClr val="FC9190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3E7E812-7B1F-B14B-8B45-CB197A668E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0342" y="5931876"/>
            <a:ext cx="1166069" cy="672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5771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E43FE4-FB6C-45D5-BED5-AFA0DAE40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‹#›</a:t>
            </a:fld>
            <a:endParaRPr lang="fi-FI"/>
          </a:p>
        </p:txBody>
      </p:sp>
      <p:grpSp>
        <p:nvGrpSpPr>
          <p:cNvPr id="4" name="Ryhmä 3">
            <a:extLst>
              <a:ext uri="{FF2B5EF4-FFF2-40B4-BE49-F238E27FC236}">
                <a16:creationId xmlns:a16="http://schemas.microsoft.com/office/drawing/2014/main" id="{BAE1A457-4EA5-FF9F-BD7A-D2A36A70CB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639891" y="1800157"/>
            <a:ext cx="5321599" cy="3248893"/>
            <a:chOff x="639891" y="1800157"/>
            <a:chExt cx="5321599" cy="3248893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0E45EA35-C2F4-4544-9879-E4F224E6E03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39891" y="3428543"/>
              <a:ext cx="2640710" cy="1620507"/>
            </a:xfrm>
            <a:custGeom>
              <a:avLst/>
              <a:gdLst>
                <a:gd name="T0" fmla="*/ 0 w 14786"/>
                <a:gd name="T1" fmla="*/ 0 h 9061"/>
                <a:gd name="T2" fmla="*/ 0 w 14786"/>
                <a:gd name="T3" fmla="*/ 0 h 9061"/>
                <a:gd name="T4" fmla="*/ 0 w 14786"/>
                <a:gd name="T5" fmla="*/ 0 h 9061"/>
                <a:gd name="T6" fmla="*/ 0 w 14786"/>
                <a:gd name="T7" fmla="*/ 0 h 9061"/>
                <a:gd name="T8" fmla="*/ 7481 w 14786"/>
                <a:gd name="T9" fmla="*/ 7481 h 9061"/>
                <a:gd name="T10" fmla="*/ 13205 w 14786"/>
                <a:gd name="T11" fmla="*/ 7481 h 9061"/>
                <a:gd name="T12" fmla="*/ 13205 w 14786"/>
                <a:gd name="T13" fmla="*/ 1756 h 9061"/>
                <a:gd name="T14" fmla="*/ 13205 w 14786"/>
                <a:gd name="T15" fmla="*/ 1756 h 9061"/>
                <a:gd name="T16" fmla="*/ 11448 w 14786"/>
                <a:gd name="T17" fmla="*/ 0 h 9061"/>
                <a:gd name="T18" fmla="*/ 0 w 14786"/>
                <a:gd name="T19" fmla="*/ 0 h 90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86" h="9061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7481" y="7481"/>
                  </a:lnTo>
                  <a:cubicBezTo>
                    <a:pt x="9061" y="9061"/>
                    <a:pt x="11624" y="9061"/>
                    <a:pt x="13205" y="7481"/>
                  </a:cubicBezTo>
                  <a:cubicBezTo>
                    <a:pt x="14786" y="5900"/>
                    <a:pt x="14786" y="3337"/>
                    <a:pt x="13205" y="1756"/>
                  </a:cubicBezTo>
                  <a:cubicBezTo>
                    <a:pt x="13205" y="1756"/>
                    <a:pt x="13205" y="1756"/>
                    <a:pt x="13205" y="1756"/>
                  </a:cubicBezTo>
                  <a:lnTo>
                    <a:pt x="1144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CF2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986398D5-0F8B-4076-A873-AC404FBF1D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9891" y="1800157"/>
              <a:ext cx="2648588" cy="1628385"/>
            </a:xfrm>
            <a:custGeom>
              <a:avLst/>
              <a:gdLst>
                <a:gd name="T0" fmla="*/ 11448 w 14831"/>
                <a:gd name="T1" fmla="*/ 9107 h 9107"/>
                <a:gd name="T2" fmla="*/ 13251 w 14831"/>
                <a:gd name="T3" fmla="*/ 7305 h 9107"/>
                <a:gd name="T4" fmla="*/ 13251 w 14831"/>
                <a:gd name="T5" fmla="*/ 1581 h 9107"/>
                <a:gd name="T6" fmla="*/ 7526 w 14831"/>
                <a:gd name="T7" fmla="*/ 1581 h 9107"/>
                <a:gd name="T8" fmla="*/ 0 w 14831"/>
                <a:gd name="T9" fmla="*/ 9107 h 9107"/>
                <a:gd name="T10" fmla="*/ 11448 w 14831"/>
                <a:gd name="T11" fmla="*/ 9107 h 9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831" h="9107">
                  <a:moveTo>
                    <a:pt x="11448" y="9107"/>
                  </a:moveTo>
                  <a:lnTo>
                    <a:pt x="13251" y="7305"/>
                  </a:lnTo>
                  <a:cubicBezTo>
                    <a:pt x="14831" y="5724"/>
                    <a:pt x="14831" y="3161"/>
                    <a:pt x="13251" y="1581"/>
                  </a:cubicBezTo>
                  <a:cubicBezTo>
                    <a:pt x="11670" y="0"/>
                    <a:pt x="9107" y="0"/>
                    <a:pt x="7526" y="1581"/>
                  </a:cubicBezTo>
                  <a:cubicBezTo>
                    <a:pt x="7526" y="1581"/>
                    <a:pt x="0" y="9107"/>
                    <a:pt x="0" y="9107"/>
                  </a:cubicBezTo>
                  <a:lnTo>
                    <a:pt x="11448" y="9107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54075113-04A5-427B-804A-178D0FB9E8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319992" y="3428543"/>
              <a:ext cx="2641498" cy="1620507"/>
            </a:xfrm>
            <a:custGeom>
              <a:avLst/>
              <a:gdLst>
                <a:gd name="T0" fmla="*/ 14786 w 14786"/>
                <a:gd name="T1" fmla="*/ 0 h 9061"/>
                <a:gd name="T2" fmla="*/ 14786 w 14786"/>
                <a:gd name="T3" fmla="*/ 0 h 9061"/>
                <a:gd name="T4" fmla="*/ 14786 w 14786"/>
                <a:gd name="T5" fmla="*/ 0 h 9061"/>
                <a:gd name="T6" fmla="*/ 14786 w 14786"/>
                <a:gd name="T7" fmla="*/ 0 h 9061"/>
                <a:gd name="T8" fmla="*/ 7305 w 14786"/>
                <a:gd name="T9" fmla="*/ 7481 h 9061"/>
                <a:gd name="T10" fmla="*/ 1581 w 14786"/>
                <a:gd name="T11" fmla="*/ 7481 h 9061"/>
                <a:gd name="T12" fmla="*/ 1581 w 14786"/>
                <a:gd name="T13" fmla="*/ 1756 h 9061"/>
                <a:gd name="T14" fmla="*/ 1581 w 14786"/>
                <a:gd name="T15" fmla="*/ 1756 h 9061"/>
                <a:gd name="T16" fmla="*/ 3338 w 14786"/>
                <a:gd name="T17" fmla="*/ 0 h 9061"/>
                <a:gd name="T18" fmla="*/ 14786 w 14786"/>
                <a:gd name="T19" fmla="*/ 0 h 90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86" h="9061">
                  <a:moveTo>
                    <a:pt x="14786" y="0"/>
                  </a:moveTo>
                  <a:lnTo>
                    <a:pt x="14786" y="0"/>
                  </a:lnTo>
                  <a:lnTo>
                    <a:pt x="14786" y="0"/>
                  </a:lnTo>
                  <a:close/>
                  <a:moveTo>
                    <a:pt x="14786" y="0"/>
                  </a:moveTo>
                  <a:lnTo>
                    <a:pt x="7305" y="7481"/>
                  </a:lnTo>
                  <a:cubicBezTo>
                    <a:pt x="5725" y="9061"/>
                    <a:pt x="3162" y="9061"/>
                    <a:pt x="1581" y="7481"/>
                  </a:cubicBezTo>
                  <a:cubicBezTo>
                    <a:pt x="0" y="5900"/>
                    <a:pt x="0" y="3337"/>
                    <a:pt x="1581" y="1756"/>
                  </a:cubicBezTo>
                  <a:cubicBezTo>
                    <a:pt x="1581" y="1756"/>
                    <a:pt x="1581" y="1756"/>
                    <a:pt x="1581" y="1756"/>
                  </a:cubicBezTo>
                  <a:lnTo>
                    <a:pt x="3338" y="0"/>
                  </a:lnTo>
                  <a:lnTo>
                    <a:pt x="14786" y="0"/>
                  </a:lnTo>
                  <a:close/>
                </a:path>
              </a:pathLst>
            </a:custGeom>
            <a:solidFill>
              <a:srgbClr val="FFCF2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202B087E-0424-4FE2-892D-5AB0A82A29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12114" y="1800157"/>
              <a:ext cx="2649376" cy="1628385"/>
            </a:xfrm>
            <a:custGeom>
              <a:avLst/>
              <a:gdLst>
                <a:gd name="T0" fmla="*/ 3383 w 14831"/>
                <a:gd name="T1" fmla="*/ 9107 h 9107"/>
                <a:gd name="T2" fmla="*/ 1580 w 14831"/>
                <a:gd name="T3" fmla="*/ 7305 h 9107"/>
                <a:gd name="T4" fmla="*/ 1580 w 14831"/>
                <a:gd name="T5" fmla="*/ 1581 h 9107"/>
                <a:gd name="T6" fmla="*/ 7304 w 14831"/>
                <a:gd name="T7" fmla="*/ 1581 h 9107"/>
                <a:gd name="T8" fmla="*/ 14831 w 14831"/>
                <a:gd name="T9" fmla="*/ 9107 h 9107"/>
                <a:gd name="T10" fmla="*/ 3383 w 14831"/>
                <a:gd name="T11" fmla="*/ 9107 h 9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831" h="9107">
                  <a:moveTo>
                    <a:pt x="3383" y="9107"/>
                  </a:moveTo>
                  <a:lnTo>
                    <a:pt x="1580" y="7305"/>
                  </a:lnTo>
                  <a:cubicBezTo>
                    <a:pt x="0" y="5724"/>
                    <a:pt x="0" y="3161"/>
                    <a:pt x="1580" y="1581"/>
                  </a:cubicBezTo>
                  <a:cubicBezTo>
                    <a:pt x="3161" y="0"/>
                    <a:pt x="5724" y="0"/>
                    <a:pt x="7304" y="1581"/>
                  </a:cubicBezTo>
                  <a:cubicBezTo>
                    <a:pt x="7305" y="1581"/>
                    <a:pt x="14831" y="9107"/>
                    <a:pt x="14831" y="9107"/>
                  </a:cubicBezTo>
                  <a:lnTo>
                    <a:pt x="3383" y="9107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12" name="Otsikko 1">
            <a:extLst>
              <a:ext uri="{FF2B5EF4-FFF2-40B4-BE49-F238E27FC236}">
                <a16:creationId xmlns:a16="http://schemas.microsoft.com/office/drawing/2014/main" id="{2D771CF0-F310-209C-638C-735F3DE6A3F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437179"/>
            <a:ext cx="5355982" cy="2468071"/>
          </a:xfrm>
        </p:spPr>
        <p:txBody>
          <a:bodyPr anchor="t" anchorCtr="0">
            <a:normAutofit/>
          </a:bodyPr>
          <a:lstStyle>
            <a:lvl1pPr algn="ctr">
              <a:defRPr sz="4000" spc="-50" baseline="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13" name="Alaotsikko 2">
            <a:extLst>
              <a:ext uri="{FF2B5EF4-FFF2-40B4-BE49-F238E27FC236}">
                <a16:creationId xmlns:a16="http://schemas.microsoft.com/office/drawing/2014/main" id="{EEB3BAAD-59DE-B9EB-5326-3A39B8D431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4329873"/>
            <a:ext cx="5355982" cy="1217735"/>
          </a:xfrm>
        </p:spPr>
        <p:txBody>
          <a:bodyPr/>
          <a:lstStyle>
            <a:lvl1pPr marL="0" indent="0" algn="ctr">
              <a:buNone/>
              <a:defRPr sz="2200" spc="-2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</p:spTree>
    <p:extLst>
      <p:ext uri="{BB962C8B-B14F-4D97-AF65-F5344CB8AC3E}">
        <p14:creationId xmlns:p14="http://schemas.microsoft.com/office/powerpoint/2010/main" val="26669573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E43FE4-FB6C-45D5-BED5-AFA0DAE40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‹#›</a:t>
            </a:fld>
            <a:endParaRPr lang="fi-FI"/>
          </a:p>
        </p:txBody>
      </p:sp>
      <p:grpSp>
        <p:nvGrpSpPr>
          <p:cNvPr id="4" name="Ryhmä 3">
            <a:extLst>
              <a:ext uri="{FF2B5EF4-FFF2-40B4-BE49-F238E27FC236}">
                <a16:creationId xmlns:a16="http://schemas.microsoft.com/office/drawing/2014/main" id="{7456141C-5B06-88AB-F1B2-BFA33C0F0C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258888" y="1236663"/>
            <a:ext cx="4373562" cy="4378325"/>
            <a:chOff x="1258888" y="1236663"/>
            <a:chExt cx="4373562" cy="4378325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D0EC2061-EE4E-4F9E-9351-65C30C5514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58888" y="2582863"/>
              <a:ext cx="3019425" cy="3032125"/>
            </a:xfrm>
            <a:custGeom>
              <a:avLst/>
              <a:gdLst>
                <a:gd name="T0" fmla="*/ 7505 w 16805"/>
                <a:gd name="T1" fmla="*/ 0 h 16880"/>
                <a:gd name="T2" fmla="*/ 7505 w 16805"/>
                <a:gd name="T3" fmla="*/ 0 h 16880"/>
                <a:gd name="T4" fmla="*/ 4651 w 16805"/>
                <a:gd name="T5" fmla="*/ 0 h 16880"/>
                <a:gd name="T6" fmla="*/ 0 w 16805"/>
                <a:gd name="T7" fmla="*/ 4650 h 16880"/>
                <a:gd name="T8" fmla="*/ 4651 w 16805"/>
                <a:gd name="T9" fmla="*/ 9301 h 16880"/>
                <a:gd name="T10" fmla="*/ 4651 w 16805"/>
                <a:gd name="T11" fmla="*/ 9301 h 16880"/>
                <a:gd name="T12" fmla="*/ 7504 w 16805"/>
                <a:gd name="T13" fmla="*/ 9301 h 16880"/>
                <a:gd name="T14" fmla="*/ 7504 w 16805"/>
                <a:gd name="T15" fmla="*/ 12229 h 16880"/>
                <a:gd name="T16" fmla="*/ 12155 w 16805"/>
                <a:gd name="T17" fmla="*/ 16880 h 16880"/>
                <a:gd name="T18" fmla="*/ 16805 w 16805"/>
                <a:gd name="T19" fmla="*/ 12229 h 16880"/>
                <a:gd name="T20" fmla="*/ 16805 w 16805"/>
                <a:gd name="T21" fmla="*/ 0 h 16880"/>
                <a:gd name="T22" fmla="*/ 7505 w 16805"/>
                <a:gd name="T23" fmla="*/ 0 h 16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805" h="16880">
                  <a:moveTo>
                    <a:pt x="7505" y="0"/>
                  </a:moveTo>
                  <a:lnTo>
                    <a:pt x="7505" y="0"/>
                  </a:lnTo>
                  <a:lnTo>
                    <a:pt x="4651" y="0"/>
                  </a:lnTo>
                  <a:cubicBezTo>
                    <a:pt x="2082" y="0"/>
                    <a:pt x="0" y="2082"/>
                    <a:pt x="0" y="4650"/>
                  </a:cubicBezTo>
                  <a:cubicBezTo>
                    <a:pt x="0" y="7219"/>
                    <a:pt x="2082" y="9301"/>
                    <a:pt x="4651" y="9301"/>
                  </a:cubicBezTo>
                  <a:lnTo>
                    <a:pt x="4651" y="9301"/>
                  </a:lnTo>
                  <a:lnTo>
                    <a:pt x="7504" y="9301"/>
                  </a:lnTo>
                  <a:lnTo>
                    <a:pt x="7504" y="12229"/>
                  </a:lnTo>
                  <a:cubicBezTo>
                    <a:pt x="7504" y="14797"/>
                    <a:pt x="9587" y="16880"/>
                    <a:pt x="12155" y="16880"/>
                  </a:cubicBezTo>
                  <a:cubicBezTo>
                    <a:pt x="14723" y="16880"/>
                    <a:pt x="16805" y="14798"/>
                    <a:pt x="16805" y="12229"/>
                  </a:cubicBezTo>
                  <a:lnTo>
                    <a:pt x="16805" y="0"/>
                  </a:lnTo>
                  <a:lnTo>
                    <a:pt x="7505" y="0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C43BE5CC-F67A-493E-AC86-BCCFEA817C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3025" y="1236663"/>
              <a:ext cx="3019425" cy="3032125"/>
            </a:xfrm>
            <a:custGeom>
              <a:avLst/>
              <a:gdLst>
                <a:gd name="T0" fmla="*/ 9300 w 16805"/>
                <a:gd name="T1" fmla="*/ 16880 h 16880"/>
                <a:gd name="T2" fmla="*/ 9300 w 16805"/>
                <a:gd name="T3" fmla="*/ 16880 h 16880"/>
                <a:gd name="T4" fmla="*/ 12154 w 16805"/>
                <a:gd name="T5" fmla="*/ 16880 h 16880"/>
                <a:gd name="T6" fmla="*/ 16805 w 16805"/>
                <a:gd name="T7" fmla="*/ 12229 h 16880"/>
                <a:gd name="T8" fmla="*/ 12154 w 16805"/>
                <a:gd name="T9" fmla="*/ 7579 h 16880"/>
                <a:gd name="T10" fmla="*/ 12154 w 16805"/>
                <a:gd name="T11" fmla="*/ 7579 h 16880"/>
                <a:gd name="T12" fmla="*/ 9300 w 16805"/>
                <a:gd name="T13" fmla="*/ 7579 h 16880"/>
                <a:gd name="T14" fmla="*/ 9300 w 16805"/>
                <a:gd name="T15" fmla="*/ 4651 h 16880"/>
                <a:gd name="T16" fmla="*/ 4650 w 16805"/>
                <a:gd name="T17" fmla="*/ 0 h 16880"/>
                <a:gd name="T18" fmla="*/ 0 w 16805"/>
                <a:gd name="T19" fmla="*/ 4651 h 16880"/>
                <a:gd name="T20" fmla="*/ 0 w 16805"/>
                <a:gd name="T21" fmla="*/ 7489 h 16880"/>
                <a:gd name="T22" fmla="*/ 9300 w 16805"/>
                <a:gd name="T23" fmla="*/ 16880 h 16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805" h="16880">
                  <a:moveTo>
                    <a:pt x="9300" y="16880"/>
                  </a:moveTo>
                  <a:lnTo>
                    <a:pt x="9300" y="16880"/>
                  </a:lnTo>
                  <a:lnTo>
                    <a:pt x="12154" y="16880"/>
                  </a:lnTo>
                  <a:cubicBezTo>
                    <a:pt x="14723" y="16880"/>
                    <a:pt x="16805" y="14798"/>
                    <a:pt x="16805" y="12229"/>
                  </a:cubicBezTo>
                  <a:cubicBezTo>
                    <a:pt x="16805" y="9661"/>
                    <a:pt x="14723" y="7579"/>
                    <a:pt x="12154" y="7579"/>
                  </a:cubicBezTo>
                  <a:lnTo>
                    <a:pt x="12154" y="7579"/>
                  </a:lnTo>
                  <a:lnTo>
                    <a:pt x="9300" y="7579"/>
                  </a:lnTo>
                  <a:lnTo>
                    <a:pt x="9300" y="4651"/>
                  </a:lnTo>
                  <a:cubicBezTo>
                    <a:pt x="9300" y="2082"/>
                    <a:pt x="7218" y="0"/>
                    <a:pt x="4650" y="0"/>
                  </a:cubicBezTo>
                  <a:cubicBezTo>
                    <a:pt x="2082" y="0"/>
                    <a:pt x="0" y="2082"/>
                    <a:pt x="0" y="4651"/>
                  </a:cubicBezTo>
                  <a:lnTo>
                    <a:pt x="0" y="7489"/>
                  </a:lnTo>
                  <a:lnTo>
                    <a:pt x="9300" y="16880"/>
                  </a:lnTo>
                  <a:close/>
                </a:path>
              </a:pathLst>
            </a:custGeom>
            <a:solidFill>
              <a:srgbClr val="FFCF2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8" name="Otsikko 1">
            <a:extLst>
              <a:ext uri="{FF2B5EF4-FFF2-40B4-BE49-F238E27FC236}">
                <a16:creationId xmlns:a16="http://schemas.microsoft.com/office/drawing/2014/main" id="{EA2C3DBA-7B4F-10EA-E452-53629F09A8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437179"/>
            <a:ext cx="5355982" cy="2468071"/>
          </a:xfrm>
        </p:spPr>
        <p:txBody>
          <a:bodyPr anchor="t" anchorCtr="0">
            <a:normAutofit/>
          </a:bodyPr>
          <a:lstStyle>
            <a:lvl1pPr algn="ctr">
              <a:defRPr sz="4000" spc="-50" baseline="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11" name="Alaotsikko 2">
            <a:extLst>
              <a:ext uri="{FF2B5EF4-FFF2-40B4-BE49-F238E27FC236}">
                <a16:creationId xmlns:a16="http://schemas.microsoft.com/office/drawing/2014/main" id="{81AF0E01-1B85-86E0-5408-4397B5B6F1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4329873"/>
            <a:ext cx="5355982" cy="1217735"/>
          </a:xfrm>
        </p:spPr>
        <p:txBody>
          <a:bodyPr/>
          <a:lstStyle>
            <a:lvl1pPr marL="0" indent="0" algn="ctr">
              <a:buNone/>
              <a:defRPr sz="2200" spc="-2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</p:spTree>
    <p:extLst>
      <p:ext uri="{BB962C8B-B14F-4D97-AF65-F5344CB8AC3E}">
        <p14:creationId xmlns:p14="http://schemas.microsoft.com/office/powerpoint/2010/main" val="37491482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E43FE4-FB6C-45D5-BED5-AFA0DAE40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‹#›</a:t>
            </a:fld>
            <a:endParaRPr lang="fi-FI"/>
          </a:p>
        </p:txBody>
      </p:sp>
      <p:grpSp>
        <p:nvGrpSpPr>
          <p:cNvPr id="49" name="Ryhmä 48">
            <a:extLst>
              <a:ext uri="{FF2B5EF4-FFF2-40B4-BE49-F238E27FC236}">
                <a16:creationId xmlns:a16="http://schemas.microsoft.com/office/drawing/2014/main" id="{007F2810-1B7E-4288-9E48-5CDA7C4B38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241951" y="1236813"/>
            <a:ext cx="4363468" cy="4369557"/>
            <a:chOff x="1241951" y="1236813"/>
            <a:chExt cx="4363468" cy="436955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EA53E8FE-7BF2-43A8-A78D-880C48FE90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1951" y="2590503"/>
              <a:ext cx="4363468" cy="1662177"/>
            </a:xfrm>
            <a:custGeom>
              <a:avLst/>
              <a:gdLst>
                <a:gd name="T0" fmla="*/ 19685 w 24342"/>
                <a:gd name="T1" fmla="*/ 0 h 9268"/>
                <a:gd name="T2" fmla="*/ 19685 w 24342"/>
                <a:gd name="T3" fmla="*/ 0 h 9268"/>
                <a:gd name="T4" fmla="*/ 4657 w 24342"/>
                <a:gd name="T5" fmla="*/ 0 h 9268"/>
                <a:gd name="T6" fmla="*/ 0 w 24342"/>
                <a:gd name="T7" fmla="*/ 4634 h 9268"/>
                <a:gd name="T8" fmla="*/ 4657 w 24342"/>
                <a:gd name="T9" fmla="*/ 9268 h 9268"/>
                <a:gd name="T10" fmla="*/ 4657 w 24342"/>
                <a:gd name="T11" fmla="*/ 9268 h 9268"/>
                <a:gd name="T12" fmla="*/ 19685 w 24342"/>
                <a:gd name="T13" fmla="*/ 9268 h 9268"/>
                <a:gd name="T14" fmla="*/ 24342 w 24342"/>
                <a:gd name="T15" fmla="*/ 4634 h 9268"/>
                <a:gd name="T16" fmla="*/ 19685 w 24342"/>
                <a:gd name="T17" fmla="*/ 0 h 9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342" h="9268">
                  <a:moveTo>
                    <a:pt x="19685" y="0"/>
                  </a:moveTo>
                  <a:lnTo>
                    <a:pt x="19685" y="0"/>
                  </a:lnTo>
                  <a:lnTo>
                    <a:pt x="4657" y="0"/>
                  </a:lnTo>
                  <a:cubicBezTo>
                    <a:pt x="2085" y="0"/>
                    <a:pt x="0" y="2074"/>
                    <a:pt x="0" y="4634"/>
                  </a:cubicBezTo>
                  <a:cubicBezTo>
                    <a:pt x="0" y="7193"/>
                    <a:pt x="2085" y="9268"/>
                    <a:pt x="4657" y="9268"/>
                  </a:cubicBezTo>
                  <a:lnTo>
                    <a:pt x="4657" y="9268"/>
                  </a:lnTo>
                  <a:lnTo>
                    <a:pt x="19685" y="9268"/>
                  </a:lnTo>
                  <a:cubicBezTo>
                    <a:pt x="22257" y="9268"/>
                    <a:pt x="24342" y="7193"/>
                    <a:pt x="24342" y="4634"/>
                  </a:cubicBezTo>
                  <a:cubicBezTo>
                    <a:pt x="24342" y="2074"/>
                    <a:pt x="22257" y="0"/>
                    <a:pt x="19685" y="0"/>
                  </a:cubicBez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891B320A-6B87-4CD3-8E87-899FA6160C2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88538" y="1236813"/>
              <a:ext cx="1670295" cy="4369557"/>
            </a:xfrm>
            <a:custGeom>
              <a:avLst/>
              <a:gdLst>
                <a:gd name="T0" fmla="*/ 9314 w 9314"/>
                <a:gd name="T1" fmla="*/ 4634 h 24374"/>
                <a:gd name="T2" fmla="*/ 4657 w 9314"/>
                <a:gd name="T3" fmla="*/ 0 h 24374"/>
                <a:gd name="T4" fmla="*/ 0 w 9314"/>
                <a:gd name="T5" fmla="*/ 4634 h 24374"/>
                <a:gd name="T6" fmla="*/ 0 w 9314"/>
                <a:gd name="T7" fmla="*/ 19739 h 24374"/>
                <a:gd name="T8" fmla="*/ 4657 w 9314"/>
                <a:gd name="T9" fmla="*/ 24374 h 24374"/>
                <a:gd name="T10" fmla="*/ 9314 w 9314"/>
                <a:gd name="T11" fmla="*/ 19739 h 24374"/>
                <a:gd name="T12" fmla="*/ 9314 w 9314"/>
                <a:gd name="T13" fmla="*/ 4634 h 24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14" h="24374">
                  <a:moveTo>
                    <a:pt x="9314" y="4634"/>
                  </a:moveTo>
                  <a:cubicBezTo>
                    <a:pt x="9314" y="2075"/>
                    <a:pt x="7229" y="0"/>
                    <a:pt x="4657" y="0"/>
                  </a:cubicBezTo>
                  <a:cubicBezTo>
                    <a:pt x="2085" y="0"/>
                    <a:pt x="0" y="2075"/>
                    <a:pt x="0" y="4634"/>
                  </a:cubicBezTo>
                  <a:lnTo>
                    <a:pt x="0" y="19739"/>
                  </a:lnTo>
                  <a:cubicBezTo>
                    <a:pt x="0" y="22299"/>
                    <a:pt x="2085" y="24374"/>
                    <a:pt x="4657" y="24374"/>
                  </a:cubicBezTo>
                  <a:cubicBezTo>
                    <a:pt x="7229" y="24374"/>
                    <a:pt x="9314" y="22299"/>
                    <a:pt x="9314" y="19739"/>
                  </a:cubicBezTo>
                  <a:lnTo>
                    <a:pt x="9314" y="4634"/>
                  </a:lnTo>
                  <a:close/>
                </a:path>
              </a:pathLst>
            </a:custGeom>
            <a:solidFill>
              <a:srgbClr val="FFCF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Oval 7">
              <a:extLst>
                <a:ext uri="{FF2B5EF4-FFF2-40B4-BE49-F238E27FC236}">
                  <a16:creationId xmlns:a16="http://schemas.microsoft.com/office/drawing/2014/main" id="{D31F6D7E-AA89-4E34-870F-A404E56435A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74608" y="5065504"/>
              <a:ext cx="103506" cy="10249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Oval 8">
              <a:extLst>
                <a:ext uri="{FF2B5EF4-FFF2-40B4-BE49-F238E27FC236}">
                  <a16:creationId xmlns:a16="http://schemas.microsoft.com/office/drawing/2014/main" id="{F4DC9D5D-D0BB-478C-8958-677F4B4C6C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74608" y="4752957"/>
              <a:ext cx="103506" cy="1035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Oval 9">
              <a:extLst>
                <a:ext uri="{FF2B5EF4-FFF2-40B4-BE49-F238E27FC236}">
                  <a16:creationId xmlns:a16="http://schemas.microsoft.com/office/drawing/2014/main" id="{4F0CB64C-8700-489E-B59D-2F3A8F3D211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74608" y="4441426"/>
              <a:ext cx="103506" cy="1035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Oval 10">
              <a:extLst>
                <a:ext uri="{FF2B5EF4-FFF2-40B4-BE49-F238E27FC236}">
                  <a16:creationId xmlns:a16="http://schemas.microsoft.com/office/drawing/2014/main" id="{EC17E9B9-CE55-45B0-A22E-D08B8A7609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71933" y="5065504"/>
              <a:ext cx="103506" cy="10249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Oval 11">
              <a:extLst>
                <a:ext uri="{FF2B5EF4-FFF2-40B4-BE49-F238E27FC236}">
                  <a16:creationId xmlns:a16="http://schemas.microsoft.com/office/drawing/2014/main" id="{DCB2B620-E4C8-4B6A-80C5-2DB448222BA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71933" y="4752957"/>
              <a:ext cx="103506" cy="1035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Oval 12">
              <a:extLst>
                <a:ext uri="{FF2B5EF4-FFF2-40B4-BE49-F238E27FC236}">
                  <a16:creationId xmlns:a16="http://schemas.microsoft.com/office/drawing/2014/main" id="{1F80C5BD-2275-4880-9B72-614AB99D752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71933" y="4441426"/>
              <a:ext cx="103506" cy="1035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Oval 13">
              <a:extLst>
                <a:ext uri="{FF2B5EF4-FFF2-40B4-BE49-F238E27FC236}">
                  <a16:creationId xmlns:a16="http://schemas.microsoft.com/office/drawing/2014/main" id="{37A5EEC2-4E02-41B6-A164-B3243B6BAD7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670272" y="5065504"/>
              <a:ext cx="103506" cy="10249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Oval 14">
              <a:extLst>
                <a:ext uri="{FF2B5EF4-FFF2-40B4-BE49-F238E27FC236}">
                  <a16:creationId xmlns:a16="http://schemas.microsoft.com/office/drawing/2014/main" id="{91FE98D6-A906-4334-8155-0377FE92E97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670272" y="4752957"/>
              <a:ext cx="103506" cy="1035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1" name="Oval 15">
              <a:extLst>
                <a:ext uri="{FF2B5EF4-FFF2-40B4-BE49-F238E27FC236}">
                  <a16:creationId xmlns:a16="http://schemas.microsoft.com/office/drawing/2014/main" id="{7E1F4D48-3948-4630-ABE3-5B5637773F6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670272" y="4441426"/>
              <a:ext cx="103506" cy="1035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2" name="Oval 16">
              <a:extLst>
                <a:ext uri="{FF2B5EF4-FFF2-40B4-BE49-F238E27FC236}">
                  <a16:creationId xmlns:a16="http://schemas.microsoft.com/office/drawing/2014/main" id="{8F3FFCB2-722E-42E2-85B0-4A02998E23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74608" y="2299267"/>
              <a:ext cx="103506" cy="10249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Oval 17">
              <a:extLst>
                <a:ext uri="{FF2B5EF4-FFF2-40B4-BE49-F238E27FC236}">
                  <a16:creationId xmlns:a16="http://schemas.microsoft.com/office/drawing/2014/main" id="{5B43CFB6-1FAD-4941-9192-6E41A57843F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74608" y="1986721"/>
              <a:ext cx="103506" cy="1035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Oval 18">
              <a:extLst>
                <a:ext uri="{FF2B5EF4-FFF2-40B4-BE49-F238E27FC236}">
                  <a16:creationId xmlns:a16="http://schemas.microsoft.com/office/drawing/2014/main" id="{34BC8FFB-21BE-4BAA-A848-F39FCFA478C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74608" y="1675190"/>
              <a:ext cx="103506" cy="1035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Oval 19">
              <a:extLst>
                <a:ext uri="{FF2B5EF4-FFF2-40B4-BE49-F238E27FC236}">
                  <a16:creationId xmlns:a16="http://schemas.microsoft.com/office/drawing/2014/main" id="{CF7ABB5A-11EB-42AE-B0BE-8F4FAFB8B92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71933" y="2299267"/>
              <a:ext cx="103506" cy="10249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Oval 20">
              <a:extLst>
                <a:ext uri="{FF2B5EF4-FFF2-40B4-BE49-F238E27FC236}">
                  <a16:creationId xmlns:a16="http://schemas.microsoft.com/office/drawing/2014/main" id="{393689CA-569B-4788-8B53-ACF74C9A55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71933" y="1986721"/>
              <a:ext cx="103506" cy="1035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Oval 21">
              <a:extLst>
                <a:ext uri="{FF2B5EF4-FFF2-40B4-BE49-F238E27FC236}">
                  <a16:creationId xmlns:a16="http://schemas.microsoft.com/office/drawing/2014/main" id="{38A5FD75-7244-4472-A01C-D98CD452A83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71933" y="1675190"/>
              <a:ext cx="103506" cy="1035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8" name="Oval 22">
              <a:extLst>
                <a:ext uri="{FF2B5EF4-FFF2-40B4-BE49-F238E27FC236}">
                  <a16:creationId xmlns:a16="http://schemas.microsoft.com/office/drawing/2014/main" id="{63E01732-7053-46F6-9894-62C1E7E017C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670272" y="2299267"/>
              <a:ext cx="103506" cy="10249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9" name="Oval 23">
              <a:extLst>
                <a:ext uri="{FF2B5EF4-FFF2-40B4-BE49-F238E27FC236}">
                  <a16:creationId xmlns:a16="http://schemas.microsoft.com/office/drawing/2014/main" id="{5723EEAC-5F42-4CCE-BA2A-E1649AA1CDD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670272" y="1986721"/>
              <a:ext cx="103506" cy="1035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0" name="Oval 24">
              <a:extLst>
                <a:ext uri="{FF2B5EF4-FFF2-40B4-BE49-F238E27FC236}">
                  <a16:creationId xmlns:a16="http://schemas.microsoft.com/office/drawing/2014/main" id="{A9B2F3BE-754E-4EBD-BE88-12728885EEE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670272" y="1675190"/>
              <a:ext cx="103506" cy="1035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1" name="Oval 25">
              <a:extLst>
                <a:ext uri="{FF2B5EF4-FFF2-40B4-BE49-F238E27FC236}">
                  <a16:creationId xmlns:a16="http://schemas.microsoft.com/office/drawing/2014/main" id="{7238AE11-B370-4E53-9152-1E914E2246B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68151" y="307251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2" name="Oval 26">
              <a:extLst>
                <a:ext uri="{FF2B5EF4-FFF2-40B4-BE49-F238E27FC236}">
                  <a16:creationId xmlns:a16="http://schemas.microsoft.com/office/drawing/2014/main" id="{72464969-CC62-4C04-998E-9228BA1CECD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80697" y="307251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3" name="Oval 27">
              <a:extLst>
                <a:ext uri="{FF2B5EF4-FFF2-40B4-BE49-F238E27FC236}">
                  <a16:creationId xmlns:a16="http://schemas.microsoft.com/office/drawing/2014/main" id="{32198E22-5DFE-4C1C-BB75-F2C91696030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94258" y="307251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4" name="Oval 28">
              <a:extLst>
                <a:ext uri="{FF2B5EF4-FFF2-40B4-BE49-F238E27FC236}">
                  <a16:creationId xmlns:a16="http://schemas.microsoft.com/office/drawing/2014/main" id="{F818C060-4737-48A5-AE3A-54C4F5509BC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68151" y="336882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5" name="Oval 29">
              <a:extLst>
                <a:ext uri="{FF2B5EF4-FFF2-40B4-BE49-F238E27FC236}">
                  <a16:creationId xmlns:a16="http://schemas.microsoft.com/office/drawing/2014/main" id="{E72B202D-7567-436D-A82B-452A3815FB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80697" y="336882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6" name="Oval 30">
              <a:extLst>
                <a:ext uri="{FF2B5EF4-FFF2-40B4-BE49-F238E27FC236}">
                  <a16:creationId xmlns:a16="http://schemas.microsoft.com/office/drawing/2014/main" id="{2F9FA010-90F3-4970-B01A-61348EBB30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94258" y="336882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7" name="Oval 31">
              <a:extLst>
                <a:ext uri="{FF2B5EF4-FFF2-40B4-BE49-F238E27FC236}">
                  <a16:creationId xmlns:a16="http://schemas.microsoft.com/office/drawing/2014/main" id="{27D4D043-D4BC-4FED-90F7-0BF8A148FEA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68151" y="366513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8" name="Oval 32">
              <a:extLst>
                <a:ext uri="{FF2B5EF4-FFF2-40B4-BE49-F238E27FC236}">
                  <a16:creationId xmlns:a16="http://schemas.microsoft.com/office/drawing/2014/main" id="{C8C0B50A-50F7-43FE-AD15-424DFF04B51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80697" y="366513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9" name="Oval 33">
              <a:extLst>
                <a:ext uri="{FF2B5EF4-FFF2-40B4-BE49-F238E27FC236}">
                  <a16:creationId xmlns:a16="http://schemas.microsoft.com/office/drawing/2014/main" id="{E5EBE93C-615D-4653-9E18-7470F95750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294258" y="366513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0" name="Oval 34">
              <a:extLst>
                <a:ext uri="{FF2B5EF4-FFF2-40B4-BE49-F238E27FC236}">
                  <a16:creationId xmlns:a16="http://schemas.microsoft.com/office/drawing/2014/main" id="{0514DED8-8675-42DB-B98C-9E101B3AB1E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46564" y="307251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1" name="Oval 35">
              <a:extLst>
                <a:ext uri="{FF2B5EF4-FFF2-40B4-BE49-F238E27FC236}">
                  <a16:creationId xmlns:a16="http://schemas.microsoft.com/office/drawing/2014/main" id="{A07550E2-601F-4294-B5BE-94CC8B1BEF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60125" y="307251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2" name="Oval 36">
              <a:extLst>
                <a:ext uri="{FF2B5EF4-FFF2-40B4-BE49-F238E27FC236}">
                  <a16:creationId xmlns:a16="http://schemas.microsoft.com/office/drawing/2014/main" id="{161459FC-A7B0-40ED-9D72-D2F67929ADE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073685" y="307251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3" name="Oval 37">
              <a:extLst>
                <a:ext uri="{FF2B5EF4-FFF2-40B4-BE49-F238E27FC236}">
                  <a16:creationId xmlns:a16="http://schemas.microsoft.com/office/drawing/2014/main" id="{1EB3E677-1C82-4835-B43C-A6F2E7E535C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46564" y="336882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4" name="Oval 38">
              <a:extLst>
                <a:ext uri="{FF2B5EF4-FFF2-40B4-BE49-F238E27FC236}">
                  <a16:creationId xmlns:a16="http://schemas.microsoft.com/office/drawing/2014/main" id="{28761788-DA81-4913-8E38-BC5DEC01834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60125" y="336882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5" name="Oval 39">
              <a:extLst>
                <a:ext uri="{FF2B5EF4-FFF2-40B4-BE49-F238E27FC236}">
                  <a16:creationId xmlns:a16="http://schemas.microsoft.com/office/drawing/2014/main" id="{C98B3C26-4BC5-42A1-993D-CA47EAA5209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073685" y="336882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6" name="Oval 40">
              <a:extLst>
                <a:ext uri="{FF2B5EF4-FFF2-40B4-BE49-F238E27FC236}">
                  <a16:creationId xmlns:a16="http://schemas.microsoft.com/office/drawing/2014/main" id="{3DA645BE-6768-476E-8F64-5203F1F3F96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46564" y="366513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7" name="Oval 41">
              <a:extLst>
                <a:ext uri="{FF2B5EF4-FFF2-40B4-BE49-F238E27FC236}">
                  <a16:creationId xmlns:a16="http://schemas.microsoft.com/office/drawing/2014/main" id="{DB0A17E4-8949-4D7E-A799-AC57C1846AA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60125" y="366513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8" name="Oval 42">
              <a:extLst>
                <a:ext uri="{FF2B5EF4-FFF2-40B4-BE49-F238E27FC236}">
                  <a16:creationId xmlns:a16="http://schemas.microsoft.com/office/drawing/2014/main" id="{906AC13B-636E-4A4B-8AFD-DB79B27CFD4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073685" y="3665134"/>
              <a:ext cx="106550" cy="10553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50" name="Otsikko 1">
            <a:extLst>
              <a:ext uri="{FF2B5EF4-FFF2-40B4-BE49-F238E27FC236}">
                <a16:creationId xmlns:a16="http://schemas.microsoft.com/office/drawing/2014/main" id="{063ACA47-9A81-7DD5-3AAD-8197B7DB02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437179"/>
            <a:ext cx="5355982" cy="2468071"/>
          </a:xfrm>
        </p:spPr>
        <p:txBody>
          <a:bodyPr anchor="t" anchorCtr="0">
            <a:normAutofit/>
          </a:bodyPr>
          <a:lstStyle>
            <a:lvl1pPr algn="ctr">
              <a:defRPr sz="4000" spc="-50" baseline="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51" name="Alaotsikko 2">
            <a:extLst>
              <a:ext uri="{FF2B5EF4-FFF2-40B4-BE49-F238E27FC236}">
                <a16:creationId xmlns:a16="http://schemas.microsoft.com/office/drawing/2014/main" id="{0637FCA9-9290-6FFC-E4BD-521251B175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4329873"/>
            <a:ext cx="5355982" cy="1217735"/>
          </a:xfrm>
        </p:spPr>
        <p:txBody>
          <a:bodyPr/>
          <a:lstStyle>
            <a:lvl1pPr marL="0" indent="0" algn="ctr">
              <a:buNone/>
              <a:defRPr sz="2200" spc="-2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</p:spTree>
    <p:extLst>
      <p:ext uri="{BB962C8B-B14F-4D97-AF65-F5344CB8AC3E}">
        <p14:creationId xmlns:p14="http://schemas.microsoft.com/office/powerpoint/2010/main" val="30542005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E43FE4-FB6C-45D5-BED5-AFA0DAE40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‹#›</a:t>
            </a:fld>
            <a:endParaRPr lang="fi-FI"/>
          </a:p>
        </p:txBody>
      </p:sp>
      <p:grpSp>
        <p:nvGrpSpPr>
          <p:cNvPr id="4" name="Ryhmä 3">
            <a:extLst>
              <a:ext uri="{FF2B5EF4-FFF2-40B4-BE49-F238E27FC236}">
                <a16:creationId xmlns:a16="http://schemas.microsoft.com/office/drawing/2014/main" id="{B83DBC39-583D-7E72-7B71-5DAB5EE936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308100" y="1295400"/>
            <a:ext cx="4276725" cy="4270375"/>
            <a:chOff x="1308100" y="1295400"/>
            <a:chExt cx="4276725" cy="4270375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9D3AF8F1-F2D1-4A85-9C57-9A5A7967E2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2825" y="3430588"/>
              <a:ext cx="2025650" cy="1239838"/>
            </a:xfrm>
            <a:custGeom>
              <a:avLst/>
              <a:gdLst>
                <a:gd name="T0" fmla="*/ 0 w 11337"/>
                <a:gd name="T1" fmla="*/ 0 h 6934"/>
                <a:gd name="T2" fmla="*/ 5736 w 11337"/>
                <a:gd name="T3" fmla="*/ 5724 h 6934"/>
                <a:gd name="T4" fmla="*/ 10125 w 11337"/>
                <a:gd name="T5" fmla="*/ 5724 h 6934"/>
                <a:gd name="T6" fmla="*/ 10125 w 11337"/>
                <a:gd name="T7" fmla="*/ 1344 h 6934"/>
                <a:gd name="T8" fmla="*/ 10125 w 11337"/>
                <a:gd name="T9" fmla="*/ 1344 h 6934"/>
                <a:gd name="T10" fmla="*/ 8778 w 11337"/>
                <a:gd name="T11" fmla="*/ 0 h 6934"/>
                <a:gd name="T12" fmla="*/ 0 w 11337"/>
                <a:gd name="T13" fmla="*/ 0 h 6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37" h="6934">
                  <a:moveTo>
                    <a:pt x="0" y="0"/>
                  </a:moveTo>
                  <a:lnTo>
                    <a:pt x="5736" y="5724"/>
                  </a:lnTo>
                  <a:cubicBezTo>
                    <a:pt x="6948" y="6934"/>
                    <a:pt x="8913" y="6934"/>
                    <a:pt x="10125" y="5724"/>
                  </a:cubicBezTo>
                  <a:cubicBezTo>
                    <a:pt x="11337" y="4515"/>
                    <a:pt x="11337" y="2553"/>
                    <a:pt x="10125" y="1344"/>
                  </a:cubicBezTo>
                  <a:cubicBezTo>
                    <a:pt x="10125" y="1344"/>
                    <a:pt x="10125" y="1344"/>
                    <a:pt x="10125" y="1344"/>
                  </a:cubicBezTo>
                  <a:lnTo>
                    <a:pt x="87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D9E6C694-8F27-4D1E-8789-223F422B70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52825" y="2184400"/>
              <a:ext cx="2032000" cy="1246188"/>
            </a:xfrm>
            <a:custGeom>
              <a:avLst/>
              <a:gdLst>
                <a:gd name="T0" fmla="*/ 8777 w 11371"/>
                <a:gd name="T1" fmla="*/ 6969 h 6969"/>
                <a:gd name="T2" fmla="*/ 10159 w 11371"/>
                <a:gd name="T3" fmla="*/ 5590 h 6969"/>
                <a:gd name="T4" fmla="*/ 10159 w 11371"/>
                <a:gd name="T5" fmla="*/ 1209 h 6969"/>
                <a:gd name="T6" fmla="*/ 5770 w 11371"/>
                <a:gd name="T7" fmla="*/ 1209 h 6969"/>
                <a:gd name="T8" fmla="*/ 0 w 11371"/>
                <a:gd name="T9" fmla="*/ 6969 h 6969"/>
                <a:gd name="T10" fmla="*/ 8777 w 11371"/>
                <a:gd name="T11" fmla="*/ 6969 h 6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371" h="6969">
                  <a:moveTo>
                    <a:pt x="8777" y="6969"/>
                  </a:moveTo>
                  <a:lnTo>
                    <a:pt x="10159" y="5590"/>
                  </a:lnTo>
                  <a:cubicBezTo>
                    <a:pt x="11371" y="4380"/>
                    <a:pt x="11371" y="2419"/>
                    <a:pt x="10159" y="1209"/>
                  </a:cubicBezTo>
                  <a:cubicBezTo>
                    <a:pt x="8947" y="0"/>
                    <a:pt x="6982" y="0"/>
                    <a:pt x="5770" y="1209"/>
                  </a:cubicBezTo>
                  <a:cubicBezTo>
                    <a:pt x="5770" y="1209"/>
                    <a:pt x="0" y="6969"/>
                    <a:pt x="0" y="6969"/>
                  </a:cubicBezTo>
                  <a:lnTo>
                    <a:pt x="8777" y="6969"/>
                  </a:lnTo>
                  <a:close/>
                </a:path>
              </a:pathLst>
            </a:custGeom>
            <a:solidFill>
              <a:srgbClr val="FFCF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1C4E9DAE-5EDC-4D97-BF69-403F9FEA2A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4450" y="2190750"/>
              <a:ext cx="2025650" cy="1239838"/>
            </a:xfrm>
            <a:custGeom>
              <a:avLst/>
              <a:gdLst>
                <a:gd name="T0" fmla="*/ 11337 w 11337"/>
                <a:gd name="T1" fmla="*/ 6934 h 6934"/>
                <a:gd name="T2" fmla="*/ 5601 w 11337"/>
                <a:gd name="T3" fmla="*/ 1210 h 6934"/>
                <a:gd name="T4" fmla="*/ 1212 w 11337"/>
                <a:gd name="T5" fmla="*/ 1210 h 6934"/>
                <a:gd name="T6" fmla="*/ 1212 w 11337"/>
                <a:gd name="T7" fmla="*/ 5590 h 6934"/>
                <a:gd name="T8" fmla="*/ 1212 w 11337"/>
                <a:gd name="T9" fmla="*/ 5590 h 6934"/>
                <a:gd name="T10" fmla="*/ 2559 w 11337"/>
                <a:gd name="T11" fmla="*/ 6934 h 6934"/>
                <a:gd name="T12" fmla="*/ 11337 w 11337"/>
                <a:gd name="T13" fmla="*/ 6934 h 6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37" h="6934">
                  <a:moveTo>
                    <a:pt x="11337" y="6934"/>
                  </a:moveTo>
                  <a:lnTo>
                    <a:pt x="5601" y="1210"/>
                  </a:lnTo>
                  <a:cubicBezTo>
                    <a:pt x="4389" y="0"/>
                    <a:pt x="2424" y="0"/>
                    <a:pt x="1212" y="1210"/>
                  </a:cubicBezTo>
                  <a:cubicBezTo>
                    <a:pt x="0" y="2419"/>
                    <a:pt x="0" y="4380"/>
                    <a:pt x="1212" y="5590"/>
                  </a:cubicBezTo>
                  <a:cubicBezTo>
                    <a:pt x="1212" y="5590"/>
                    <a:pt x="1212" y="5590"/>
                    <a:pt x="1212" y="5590"/>
                  </a:cubicBezTo>
                  <a:lnTo>
                    <a:pt x="2559" y="6934"/>
                  </a:lnTo>
                  <a:lnTo>
                    <a:pt x="11337" y="6934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6BA53F4C-1D6B-4CAF-AB48-BB01F5EF9A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08100" y="3430588"/>
              <a:ext cx="2032000" cy="1244600"/>
            </a:xfrm>
            <a:custGeom>
              <a:avLst/>
              <a:gdLst>
                <a:gd name="T0" fmla="*/ 2594 w 11371"/>
                <a:gd name="T1" fmla="*/ 0 h 6969"/>
                <a:gd name="T2" fmla="*/ 1212 w 11371"/>
                <a:gd name="T3" fmla="*/ 1379 h 6969"/>
                <a:gd name="T4" fmla="*/ 1212 w 11371"/>
                <a:gd name="T5" fmla="*/ 5759 h 6969"/>
                <a:gd name="T6" fmla="*/ 5601 w 11371"/>
                <a:gd name="T7" fmla="*/ 5759 h 6969"/>
                <a:gd name="T8" fmla="*/ 11371 w 11371"/>
                <a:gd name="T9" fmla="*/ 0 h 6969"/>
                <a:gd name="T10" fmla="*/ 2594 w 11371"/>
                <a:gd name="T11" fmla="*/ 0 h 6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371" h="6969">
                  <a:moveTo>
                    <a:pt x="2594" y="0"/>
                  </a:moveTo>
                  <a:lnTo>
                    <a:pt x="1212" y="1379"/>
                  </a:lnTo>
                  <a:cubicBezTo>
                    <a:pt x="0" y="2589"/>
                    <a:pt x="0" y="4550"/>
                    <a:pt x="1212" y="5759"/>
                  </a:cubicBezTo>
                  <a:cubicBezTo>
                    <a:pt x="2424" y="6969"/>
                    <a:pt x="4389" y="6969"/>
                    <a:pt x="5601" y="5759"/>
                  </a:cubicBezTo>
                  <a:cubicBezTo>
                    <a:pt x="5601" y="5759"/>
                    <a:pt x="11371" y="0"/>
                    <a:pt x="11371" y="0"/>
                  </a:cubicBezTo>
                  <a:lnTo>
                    <a:pt x="2594" y="0"/>
                  </a:lnTo>
                  <a:close/>
                </a:path>
              </a:pathLst>
            </a:custGeom>
            <a:solidFill>
              <a:srgbClr val="FFCF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17BB1772-8A45-46BB-BDDF-A3F666CACE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05038" y="3536950"/>
              <a:ext cx="1241425" cy="2022475"/>
            </a:xfrm>
            <a:custGeom>
              <a:avLst/>
              <a:gdLst>
                <a:gd name="T0" fmla="*/ 6948 w 6948"/>
                <a:gd name="T1" fmla="*/ 0 h 11315"/>
                <a:gd name="T2" fmla="*/ 1212 w 6948"/>
                <a:gd name="T3" fmla="*/ 5725 h 11315"/>
                <a:gd name="T4" fmla="*/ 1212 w 6948"/>
                <a:gd name="T5" fmla="*/ 10105 h 11315"/>
                <a:gd name="T6" fmla="*/ 5601 w 6948"/>
                <a:gd name="T7" fmla="*/ 10105 h 11315"/>
                <a:gd name="T8" fmla="*/ 5601 w 6948"/>
                <a:gd name="T9" fmla="*/ 10105 h 11315"/>
                <a:gd name="T10" fmla="*/ 6948 w 6948"/>
                <a:gd name="T11" fmla="*/ 8761 h 11315"/>
                <a:gd name="T12" fmla="*/ 6948 w 6948"/>
                <a:gd name="T13" fmla="*/ 0 h 11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48" h="11315">
                  <a:moveTo>
                    <a:pt x="6948" y="0"/>
                  </a:moveTo>
                  <a:lnTo>
                    <a:pt x="1212" y="5725"/>
                  </a:lnTo>
                  <a:cubicBezTo>
                    <a:pt x="0" y="6935"/>
                    <a:pt x="0" y="8896"/>
                    <a:pt x="1212" y="10105"/>
                  </a:cubicBezTo>
                  <a:cubicBezTo>
                    <a:pt x="2424" y="11315"/>
                    <a:pt x="4389" y="11315"/>
                    <a:pt x="5601" y="10105"/>
                  </a:cubicBezTo>
                  <a:cubicBezTo>
                    <a:pt x="5601" y="10105"/>
                    <a:pt x="5601" y="10105"/>
                    <a:pt x="5601" y="10105"/>
                  </a:cubicBezTo>
                  <a:lnTo>
                    <a:pt x="6948" y="8761"/>
                  </a:lnTo>
                  <a:lnTo>
                    <a:pt x="6948" y="0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05B8CC6B-5382-428A-BFC9-1A60DDDD07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6463" y="3536950"/>
              <a:ext cx="1247775" cy="2028825"/>
            </a:xfrm>
            <a:custGeom>
              <a:avLst/>
              <a:gdLst>
                <a:gd name="T0" fmla="*/ 0 w 6982"/>
                <a:gd name="T1" fmla="*/ 8760 h 11349"/>
                <a:gd name="T2" fmla="*/ 1381 w 6982"/>
                <a:gd name="T3" fmla="*/ 10139 h 11349"/>
                <a:gd name="T4" fmla="*/ 5770 w 6982"/>
                <a:gd name="T5" fmla="*/ 10139 h 11349"/>
                <a:gd name="T6" fmla="*/ 5770 w 6982"/>
                <a:gd name="T7" fmla="*/ 5759 h 11349"/>
                <a:gd name="T8" fmla="*/ 0 w 6982"/>
                <a:gd name="T9" fmla="*/ 0 h 11349"/>
                <a:gd name="T10" fmla="*/ 0 w 6982"/>
                <a:gd name="T11" fmla="*/ 8760 h 11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82" h="11349">
                  <a:moveTo>
                    <a:pt x="0" y="8760"/>
                  </a:moveTo>
                  <a:lnTo>
                    <a:pt x="1381" y="10139"/>
                  </a:lnTo>
                  <a:cubicBezTo>
                    <a:pt x="2593" y="11349"/>
                    <a:pt x="4558" y="11349"/>
                    <a:pt x="5770" y="10139"/>
                  </a:cubicBezTo>
                  <a:cubicBezTo>
                    <a:pt x="6982" y="8930"/>
                    <a:pt x="6982" y="6969"/>
                    <a:pt x="5770" y="5759"/>
                  </a:cubicBezTo>
                  <a:cubicBezTo>
                    <a:pt x="5770" y="5759"/>
                    <a:pt x="0" y="0"/>
                    <a:pt x="0" y="0"/>
                  </a:cubicBezTo>
                  <a:lnTo>
                    <a:pt x="0" y="8760"/>
                  </a:lnTo>
                  <a:close/>
                </a:path>
              </a:pathLst>
            </a:custGeom>
            <a:solidFill>
              <a:srgbClr val="FFCF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44315B9F-335E-4C99-AEE1-9768AC6B29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46463" y="1301750"/>
              <a:ext cx="1241425" cy="2022475"/>
            </a:xfrm>
            <a:custGeom>
              <a:avLst/>
              <a:gdLst>
                <a:gd name="T0" fmla="*/ 0 w 6947"/>
                <a:gd name="T1" fmla="*/ 11314 h 11314"/>
                <a:gd name="T2" fmla="*/ 5735 w 6947"/>
                <a:gd name="T3" fmla="*/ 5590 h 11314"/>
                <a:gd name="T4" fmla="*/ 5735 w 6947"/>
                <a:gd name="T5" fmla="*/ 1209 h 11314"/>
                <a:gd name="T6" fmla="*/ 1346 w 6947"/>
                <a:gd name="T7" fmla="*/ 1209 h 11314"/>
                <a:gd name="T8" fmla="*/ 1346 w 6947"/>
                <a:gd name="T9" fmla="*/ 1209 h 11314"/>
                <a:gd name="T10" fmla="*/ 0 w 6947"/>
                <a:gd name="T11" fmla="*/ 2553 h 11314"/>
                <a:gd name="T12" fmla="*/ 0 w 6947"/>
                <a:gd name="T13" fmla="*/ 11314 h 11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47" h="11314">
                  <a:moveTo>
                    <a:pt x="0" y="11314"/>
                  </a:moveTo>
                  <a:lnTo>
                    <a:pt x="5735" y="5590"/>
                  </a:lnTo>
                  <a:cubicBezTo>
                    <a:pt x="6947" y="4380"/>
                    <a:pt x="6947" y="2419"/>
                    <a:pt x="5735" y="1209"/>
                  </a:cubicBezTo>
                  <a:cubicBezTo>
                    <a:pt x="4523" y="0"/>
                    <a:pt x="2558" y="0"/>
                    <a:pt x="1346" y="1209"/>
                  </a:cubicBezTo>
                  <a:cubicBezTo>
                    <a:pt x="1346" y="1209"/>
                    <a:pt x="1346" y="1209"/>
                    <a:pt x="1346" y="1209"/>
                  </a:cubicBezTo>
                  <a:lnTo>
                    <a:pt x="0" y="2553"/>
                  </a:lnTo>
                  <a:lnTo>
                    <a:pt x="0" y="11314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id="{DBB2D174-0EC7-4441-AD18-1776A7DB2E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98688" y="1295400"/>
              <a:ext cx="1247775" cy="2028825"/>
            </a:xfrm>
            <a:custGeom>
              <a:avLst/>
              <a:gdLst>
                <a:gd name="T0" fmla="*/ 6983 w 6983"/>
                <a:gd name="T1" fmla="*/ 2588 h 11349"/>
                <a:gd name="T2" fmla="*/ 5601 w 6983"/>
                <a:gd name="T3" fmla="*/ 1209 h 11349"/>
                <a:gd name="T4" fmla="*/ 1212 w 6983"/>
                <a:gd name="T5" fmla="*/ 1209 h 11349"/>
                <a:gd name="T6" fmla="*/ 1212 w 6983"/>
                <a:gd name="T7" fmla="*/ 5590 h 11349"/>
                <a:gd name="T8" fmla="*/ 6983 w 6983"/>
                <a:gd name="T9" fmla="*/ 11349 h 11349"/>
                <a:gd name="T10" fmla="*/ 6983 w 6983"/>
                <a:gd name="T11" fmla="*/ 2588 h 11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83" h="11349">
                  <a:moveTo>
                    <a:pt x="6983" y="2588"/>
                  </a:moveTo>
                  <a:lnTo>
                    <a:pt x="5601" y="1209"/>
                  </a:lnTo>
                  <a:cubicBezTo>
                    <a:pt x="4389" y="0"/>
                    <a:pt x="2424" y="0"/>
                    <a:pt x="1212" y="1209"/>
                  </a:cubicBezTo>
                  <a:cubicBezTo>
                    <a:pt x="0" y="2419"/>
                    <a:pt x="0" y="4380"/>
                    <a:pt x="1212" y="5590"/>
                  </a:cubicBezTo>
                  <a:cubicBezTo>
                    <a:pt x="1212" y="5590"/>
                    <a:pt x="6983" y="11349"/>
                    <a:pt x="6983" y="11349"/>
                  </a:cubicBezTo>
                  <a:lnTo>
                    <a:pt x="6983" y="2588"/>
                  </a:lnTo>
                  <a:close/>
                </a:path>
              </a:pathLst>
            </a:custGeom>
            <a:solidFill>
              <a:srgbClr val="FFCF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19" name="Otsikko 1">
            <a:extLst>
              <a:ext uri="{FF2B5EF4-FFF2-40B4-BE49-F238E27FC236}">
                <a16:creationId xmlns:a16="http://schemas.microsoft.com/office/drawing/2014/main" id="{CC3CCF47-50E1-26E4-1690-F311DC1633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437179"/>
            <a:ext cx="5355982" cy="2468071"/>
          </a:xfrm>
        </p:spPr>
        <p:txBody>
          <a:bodyPr anchor="t" anchorCtr="0">
            <a:normAutofit/>
          </a:bodyPr>
          <a:lstStyle>
            <a:lvl1pPr algn="ctr">
              <a:defRPr sz="4000" spc="-50" baseline="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20" name="Alaotsikko 2">
            <a:extLst>
              <a:ext uri="{FF2B5EF4-FFF2-40B4-BE49-F238E27FC236}">
                <a16:creationId xmlns:a16="http://schemas.microsoft.com/office/drawing/2014/main" id="{D8A95CF2-B9DE-4096-C2FB-1D24CAEC0FB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4329873"/>
            <a:ext cx="5355982" cy="1217735"/>
          </a:xfrm>
        </p:spPr>
        <p:txBody>
          <a:bodyPr/>
          <a:lstStyle>
            <a:lvl1pPr marL="0" indent="0" algn="ctr">
              <a:buNone/>
              <a:defRPr sz="2200" spc="-2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</p:spTree>
    <p:extLst>
      <p:ext uri="{BB962C8B-B14F-4D97-AF65-F5344CB8AC3E}">
        <p14:creationId xmlns:p14="http://schemas.microsoft.com/office/powerpoint/2010/main" val="38229527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E43FE4-FB6C-45D5-BED5-AFA0DAE40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‹#›</a:t>
            </a:fld>
            <a:endParaRPr lang="fi-FI"/>
          </a:p>
        </p:txBody>
      </p:sp>
      <p:grpSp>
        <p:nvGrpSpPr>
          <p:cNvPr id="14" name="Ryhmä 13">
            <a:extLst>
              <a:ext uri="{FF2B5EF4-FFF2-40B4-BE49-F238E27FC236}">
                <a16:creationId xmlns:a16="http://schemas.microsoft.com/office/drawing/2014/main" id="{25D18D17-D3F9-44DF-8EDE-0C7C5C047F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291899" y="1369347"/>
            <a:ext cx="5569688" cy="5480715"/>
            <a:chOff x="2616201" y="4763"/>
            <a:chExt cx="6956425" cy="6845300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28A69238-3E3A-4A3A-9418-543D58BFA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9376" y="65088"/>
              <a:ext cx="2413000" cy="4302125"/>
            </a:xfrm>
            <a:custGeom>
              <a:avLst/>
              <a:gdLst>
                <a:gd name="T0" fmla="*/ 400 w 10755"/>
                <a:gd name="T1" fmla="*/ 147 h 19180"/>
                <a:gd name="T2" fmla="*/ 0 w 10755"/>
                <a:gd name="T3" fmla="*/ 313 h 19180"/>
                <a:gd name="T4" fmla="*/ 0 w 10755"/>
                <a:gd name="T5" fmla="*/ 13802 h 19180"/>
                <a:gd name="T6" fmla="*/ 5378 w 10755"/>
                <a:gd name="T7" fmla="*/ 19180 h 19180"/>
                <a:gd name="T8" fmla="*/ 10755 w 10755"/>
                <a:gd name="T9" fmla="*/ 13802 h 19180"/>
                <a:gd name="T10" fmla="*/ 10755 w 10755"/>
                <a:gd name="T11" fmla="*/ 13802 h 19180"/>
                <a:gd name="T12" fmla="*/ 10755 w 10755"/>
                <a:gd name="T13" fmla="*/ 10599 h 19180"/>
                <a:gd name="T14" fmla="*/ 10686 w 10755"/>
                <a:gd name="T15" fmla="*/ 10434 h 19180"/>
                <a:gd name="T16" fmla="*/ 400 w 10755"/>
                <a:gd name="T17" fmla="*/ 147 h 19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755" h="19180">
                  <a:moveTo>
                    <a:pt x="400" y="147"/>
                  </a:moveTo>
                  <a:cubicBezTo>
                    <a:pt x="253" y="0"/>
                    <a:pt x="0" y="104"/>
                    <a:pt x="0" y="313"/>
                  </a:cubicBezTo>
                  <a:lnTo>
                    <a:pt x="0" y="13802"/>
                  </a:lnTo>
                  <a:cubicBezTo>
                    <a:pt x="0" y="16772"/>
                    <a:pt x="2408" y="19180"/>
                    <a:pt x="5378" y="19180"/>
                  </a:cubicBezTo>
                  <a:cubicBezTo>
                    <a:pt x="8348" y="19180"/>
                    <a:pt x="10755" y="16772"/>
                    <a:pt x="10755" y="13802"/>
                  </a:cubicBezTo>
                  <a:lnTo>
                    <a:pt x="10755" y="13802"/>
                  </a:lnTo>
                  <a:lnTo>
                    <a:pt x="10755" y="10599"/>
                  </a:lnTo>
                  <a:cubicBezTo>
                    <a:pt x="10755" y="10537"/>
                    <a:pt x="10730" y="10477"/>
                    <a:pt x="10686" y="10434"/>
                  </a:cubicBezTo>
                  <a:lnTo>
                    <a:pt x="400" y="147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857EEE01-04E0-4867-8E7C-F0A0847AFF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3351" y="7938"/>
              <a:ext cx="4325938" cy="2413000"/>
            </a:xfrm>
            <a:custGeom>
              <a:avLst/>
              <a:gdLst>
                <a:gd name="T0" fmla="*/ 10515 w 19289"/>
                <a:gd name="T1" fmla="*/ 10755 h 10755"/>
                <a:gd name="T2" fmla="*/ 13901 w 19289"/>
                <a:gd name="T3" fmla="*/ 10755 h 10755"/>
                <a:gd name="T4" fmla="*/ 19279 w 19289"/>
                <a:gd name="T5" fmla="*/ 5359 h 10755"/>
                <a:gd name="T6" fmla="*/ 13843 w 19289"/>
                <a:gd name="T7" fmla="*/ 0 h 10755"/>
                <a:gd name="T8" fmla="*/ 298 w 19289"/>
                <a:gd name="T9" fmla="*/ 0 h 10755"/>
                <a:gd name="T10" fmla="*/ 141 w 19289"/>
                <a:gd name="T11" fmla="*/ 381 h 10755"/>
                <a:gd name="T12" fmla="*/ 10515 w 19289"/>
                <a:gd name="T13" fmla="*/ 10755 h 10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89" h="10755">
                  <a:moveTo>
                    <a:pt x="10515" y="10755"/>
                  </a:moveTo>
                  <a:lnTo>
                    <a:pt x="13901" y="10755"/>
                  </a:lnTo>
                  <a:cubicBezTo>
                    <a:pt x="16878" y="10755"/>
                    <a:pt x="19289" y="8337"/>
                    <a:pt x="19279" y="5359"/>
                  </a:cubicBezTo>
                  <a:cubicBezTo>
                    <a:pt x="19269" y="2387"/>
                    <a:pt x="16815" y="0"/>
                    <a:pt x="13843" y="0"/>
                  </a:cubicBezTo>
                  <a:lnTo>
                    <a:pt x="298" y="0"/>
                  </a:lnTo>
                  <a:cubicBezTo>
                    <a:pt x="100" y="0"/>
                    <a:pt x="0" y="240"/>
                    <a:pt x="141" y="381"/>
                  </a:cubicBezTo>
                  <a:lnTo>
                    <a:pt x="10515" y="10755"/>
                  </a:lnTo>
                  <a:close/>
                </a:path>
              </a:pathLst>
            </a:custGeom>
            <a:solidFill>
              <a:srgbClr val="FFCF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60EC8585-3977-43D4-B994-8374AA7EC3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6201" y="4763"/>
              <a:ext cx="6956425" cy="6845300"/>
            </a:xfrm>
            <a:custGeom>
              <a:avLst/>
              <a:gdLst>
                <a:gd name="T0" fmla="*/ 29827 w 31023"/>
                <a:gd name="T1" fmla="*/ 30518 h 30518"/>
                <a:gd name="T2" fmla="*/ 31023 w 31023"/>
                <a:gd name="T3" fmla="*/ 30518 h 30518"/>
                <a:gd name="T4" fmla="*/ 30881 w 31023"/>
                <a:gd name="T5" fmla="*/ 30190 h 30518"/>
                <a:gd name="T6" fmla="*/ 881 w 31023"/>
                <a:gd name="T7" fmla="*/ 190 h 30518"/>
                <a:gd name="T8" fmla="*/ 190 w 31023"/>
                <a:gd name="T9" fmla="*/ 190 h 30518"/>
                <a:gd name="T10" fmla="*/ 190 w 31023"/>
                <a:gd name="T11" fmla="*/ 881 h 30518"/>
                <a:gd name="T12" fmla="*/ 29827 w 31023"/>
                <a:gd name="T13" fmla="*/ 30518 h 30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23" h="30518">
                  <a:moveTo>
                    <a:pt x="29827" y="30518"/>
                  </a:moveTo>
                  <a:lnTo>
                    <a:pt x="31023" y="30518"/>
                  </a:lnTo>
                  <a:cubicBezTo>
                    <a:pt x="31019" y="30399"/>
                    <a:pt x="30971" y="30281"/>
                    <a:pt x="30881" y="30190"/>
                  </a:cubicBezTo>
                  <a:lnTo>
                    <a:pt x="881" y="190"/>
                  </a:lnTo>
                  <a:cubicBezTo>
                    <a:pt x="690" y="0"/>
                    <a:pt x="381" y="0"/>
                    <a:pt x="190" y="190"/>
                  </a:cubicBezTo>
                  <a:cubicBezTo>
                    <a:pt x="0" y="381"/>
                    <a:pt x="0" y="690"/>
                    <a:pt x="190" y="881"/>
                  </a:cubicBezTo>
                  <a:lnTo>
                    <a:pt x="29827" y="30518"/>
                  </a:lnTo>
                  <a:close/>
                </a:path>
              </a:pathLst>
            </a:custGeom>
            <a:solidFill>
              <a:srgbClr val="313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12" name="Otsikko 1">
            <a:extLst>
              <a:ext uri="{FF2B5EF4-FFF2-40B4-BE49-F238E27FC236}">
                <a16:creationId xmlns:a16="http://schemas.microsoft.com/office/drawing/2014/main" id="{2F2FBECB-A307-2064-FCF5-F6F5DC27B7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437179"/>
            <a:ext cx="5355982" cy="2468071"/>
          </a:xfrm>
        </p:spPr>
        <p:txBody>
          <a:bodyPr anchor="t" anchorCtr="0">
            <a:normAutofit/>
          </a:bodyPr>
          <a:lstStyle>
            <a:lvl1pPr algn="ctr">
              <a:defRPr sz="4000" spc="-50" baseline="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13" name="Alaotsikko 2">
            <a:extLst>
              <a:ext uri="{FF2B5EF4-FFF2-40B4-BE49-F238E27FC236}">
                <a16:creationId xmlns:a16="http://schemas.microsoft.com/office/drawing/2014/main" id="{4B1A8B24-0324-68AF-5533-A2F7F1B5AE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4329873"/>
            <a:ext cx="5355982" cy="1217735"/>
          </a:xfrm>
        </p:spPr>
        <p:txBody>
          <a:bodyPr/>
          <a:lstStyle>
            <a:lvl1pPr marL="0" indent="0" algn="ctr">
              <a:buNone/>
              <a:defRPr sz="2200" spc="-2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</p:spTree>
    <p:extLst>
      <p:ext uri="{BB962C8B-B14F-4D97-AF65-F5344CB8AC3E}">
        <p14:creationId xmlns:p14="http://schemas.microsoft.com/office/powerpoint/2010/main" val="17204264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A7EB6BE-E09D-4391-BB19-9AB34E85D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5173" y="882869"/>
            <a:ext cx="4526870" cy="1472950"/>
          </a:xfrm>
        </p:spPr>
        <p:txBody>
          <a:bodyPr/>
          <a:lstStyle>
            <a:lvl1pPr>
              <a:defRPr sz="30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EA7A06A4-1BF6-41E8-89FB-D111961A8A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5173" y="2702660"/>
            <a:ext cx="4526870" cy="347430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11" name="Sisällön paikkamerkki 10">
            <a:extLst>
              <a:ext uri="{FF2B5EF4-FFF2-40B4-BE49-F238E27FC236}">
                <a16:creationId xmlns:a16="http://schemas.microsoft.com/office/drawing/2014/main" id="{7003FAD7-ACA6-4D45-A7F3-A3802FD3E09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83339" y="869950"/>
            <a:ext cx="4916480" cy="5319713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00177F-D1AE-4D79-BFFE-C2705DAEA0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5B677-F3BE-4BC7-9B45-5761A11509A9}" type="datetime1">
              <a:rPr lang="fi-FI" smtClean="0"/>
              <a:t>21.6.2023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D388A3-F45C-4855-8B64-52B1BF9A5B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221093-58DE-4EB6-89DB-B88D32F62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038592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E243A338-5EC7-4196-A0E8-05B1FE386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5173" y="861647"/>
            <a:ext cx="10313378" cy="12340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61561A0-4845-4E30-A051-2FD9AFC9AE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45173" y="2479431"/>
            <a:ext cx="10313378" cy="36975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Ensimmäinen taso</a:t>
            </a:r>
          </a:p>
          <a:p>
            <a:pPr lvl="2"/>
            <a:r>
              <a:rPr lang="fi-FI"/>
              <a:t>Toinen taso</a:t>
            </a:r>
          </a:p>
          <a:p>
            <a:pPr lvl="3"/>
            <a:r>
              <a:rPr lang="fi-FI"/>
              <a:t>Kolmas taso</a:t>
            </a:r>
          </a:p>
          <a:p>
            <a:pPr lvl="4"/>
            <a:r>
              <a:rPr lang="fi-FI"/>
              <a:t>Neljäs taso</a:t>
            </a:r>
          </a:p>
          <a:p>
            <a:pPr lvl="5"/>
            <a:r>
              <a:rPr lang="fi-FI"/>
              <a:t>Viides taso</a:t>
            </a:r>
          </a:p>
          <a:p>
            <a:pPr lvl="6"/>
            <a:r>
              <a:rPr lang="fi-FI"/>
              <a:t>Kuudes taso</a:t>
            </a:r>
          </a:p>
          <a:p>
            <a:pPr lvl="7"/>
            <a:r>
              <a:rPr lang="fi-FI"/>
              <a:t>Seitsemäs taso</a:t>
            </a:r>
          </a:p>
          <a:p>
            <a:pPr lvl="8"/>
            <a:r>
              <a:rPr lang="fi-FI"/>
              <a:t>Kahdeksas taso</a:t>
            </a:r>
          </a:p>
          <a:p>
            <a:pPr lvl="5"/>
            <a:endParaRPr lang="fi-FI"/>
          </a:p>
          <a:p>
            <a:pPr lvl="4"/>
            <a:endParaRPr lang="fi-FI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38C5D75-E007-4B16-BDEC-50D708BCD6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30098" y="6316597"/>
            <a:ext cx="141111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fld id="{0B1F465F-1FE2-48BD-A5F4-8F709E6305AF}" type="datetime1">
              <a:rPr lang="fi-FI" smtClean="0"/>
              <a:t>21.6.2023</a:t>
            </a:fld>
            <a:endParaRPr lang="fi-FI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A91CA4E-B711-401A-9708-31ACDAD2A6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3635" y="180841"/>
            <a:ext cx="5158408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 cap="all" baseline="0">
                <a:solidFill>
                  <a:schemeClr val="tx2"/>
                </a:solidFill>
              </a:defRPr>
            </a:lvl1pPr>
          </a:lstStyle>
          <a:p>
            <a:endParaRPr lang="fi-FI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332C66C-0429-4408-858E-55D6FCC689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36269" y="6316597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CCD26548-A701-4132-A0A2-A9B09A70FF4B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10" name="Kuva 9" descr="Keltamusta logo, jossa yhdistyy sydämen, nuolen ja p-kirjaimen muodot sekä harmaa teksti Pohjois-Savon hyvinvointialue.">
            <a:extLst>
              <a:ext uri="{FF2B5EF4-FFF2-40B4-BE49-F238E27FC236}">
                <a16:creationId xmlns:a16="http://schemas.microsoft.com/office/drawing/2014/main" id="{47AE4CFD-8148-4EE1-9FD3-721B986FD5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1468" y="319851"/>
            <a:ext cx="1522479" cy="329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649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77" r:id="rId9"/>
    <p:sldLayoutId id="2147483678" r:id="rId10"/>
    <p:sldLayoutId id="2147483660" r:id="rId11"/>
    <p:sldLayoutId id="2147483669" r:id="rId12"/>
    <p:sldLayoutId id="2147483676" r:id="rId13"/>
    <p:sldLayoutId id="2147483673" r:id="rId14"/>
    <p:sldLayoutId id="2147483674" r:id="rId15"/>
    <p:sldLayoutId id="2147483675" r:id="rId16"/>
    <p:sldLayoutId id="2147483651" r:id="rId17"/>
    <p:sldLayoutId id="2147483667" r:id="rId18"/>
    <p:sldLayoutId id="2147483668" r:id="rId19"/>
    <p:sldLayoutId id="2147483670" r:id="rId20"/>
    <p:sldLayoutId id="2147483671" r:id="rId21"/>
    <p:sldLayoutId id="2147483672" r:id="rId22"/>
    <p:sldLayoutId id="2147483680" r:id="rId23"/>
    <p:sldLayoutId id="2147483682" r:id="rId24"/>
    <p:sldLayoutId id="2147483681" r:id="rId25"/>
    <p:sldLayoutId id="2147483683" r:id="rId26"/>
    <p:sldLayoutId id="2147483654" r:id="rId27"/>
    <p:sldLayoutId id="2147483655" r:id="rId28"/>
    <p:sldLayoutId id="2147483679" r:id="rId29"/>
    <p:sldLayoutId id="2147483684" r:id="rId30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540000" indent="-1800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900000" indent="-179388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260000" indent="-180975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620000" indent="-1800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1980000" indent="-1800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340000" indent="-1800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700000" indent="-1800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060000" indent="-1800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11" Type="http://schemas.openxmlformats.org/officeDocument/2006/relationships/image" Target="../media/image21.svg"/><Relationship Id="rId5" Type="http://schemas.openxmlformats.org/officeDocument/2006/relationships/image" Target="../media/image15.sv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sv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4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5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26.png"/><Relationship Id="rId4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8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9" Type="http://schemas.openxmlformats.org/officeDocument/2006/relationships/image" Target="../media/image2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3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4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0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0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hyperlink" Target="https://response.questback.com/isa/qbv.dll/bylink?p=CDMfUaYXpRBfItSz9orEtjCLnhz6XNlEyRCJMIDYmofGA1OFFg0NpIzD5Z-L7rIj0" TargetMode="Externa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8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F2D9C8E2-4485-0C4C-93D0-7A52279AA2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1</a:t>
            </a:fld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8844C0C4-3A88-0D77-892B-E20B07AF6C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2194964"/>
            <a:ext cx="5355982" cy="2468071"/>
          </a:xfrm>
        </p:spPr>
        <p:txBody>
          <a:bodyPr>
            <a:normAutofit fontScale="90000"/>
          </a:bodyPr>
          <a:lstStyle/>
          <a:p>
            <a:r>
              <a:rPr lang="fi-FI"/>
              <a:t>Opas asumisen ratkaisuista ikäihmisille​</a:t>
            </a:r>
            <a:br>
              <a:rPr lang="fi-FI"/>
            </a:br>
            <a:r>
              <a:rPr lang="fi-FI"/>
              <a:t>Pohjois-Savon hyvinvointialueelle  ​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427EC59B-06CF-76F3-380F-65516A0D99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4663035"/>
            <a:ext cx="5355982" cy="1217735"/>
          </a:xfrm>
        </p:spPr>
        <p:txBody>
          <a:bodyPr/>
          <a:lstStyle/>
          <a:p>
            <a:r>
              <a:rPr lang="fi-FI"/>
              <a:t>2023</a:t>
            </a:r>
          </a:p>
        </p:txBody>
      </p:sp>
    </p:spTree>
    <p:extLst>
      <p:ext uri="{BB962C8B-B14F-4D97-AF65-F5344CB8AC3E}">
        <p14:creationId xmlns:p14="http://schemas.microsoft.com/office/powerpoint/2010/main" val="28540793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36FF4F-F233-EBF7-B1C6-B784BA3688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5173" y="861647"/>
            <a:ext cx="8337372" cy="1234018"/>
          </a:xfrm>
        </p:spPr>
        <p:txBody>
          <a:bodyPr/>
          <a:lstStyle/>
          <a:p>
            <a:r>
              <a:rPr lang="fi-FI"/>
              <a:t>Työpajassa tunnistetut tavoitteet ja tarpeet oppaal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8759F4-39E5-3833-03CE-58E86B67D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z="1000">
                <a:solidFill>
                  <a:schemeClr val="tx1"/>
                </a:solidFill>
              </a:rPr>
              <a:t>Oppaan suunnittelu</a:t>
            </a:r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977FB3-FC1C-2F5B-46BC-DF7C6A5FA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10</a:t>
            </a:fld>
            <a:endParaRPr lang="fi-FI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BC68E46-19FB-A95C-301E-6971862197E4}"/>
              </a:ext>
            </a:extLst>
          </p:cNvPr>
          <p:cNvSpPr/>
          <p:nvPr/>
        </p:nvSpPr>
        <p:spPr>
          <a:xfrm>
            <a:off x="491318" y="3935507"/>
            <a:ext cx="4619525" cy="229593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45720" rIns="180000" bIns="45720" rtlCol="0" anchor="ctr"/>
          <a:lstStyle/>
          <a:p>
            <a:pPr>
              <a:spcAft>
                <a:spcPts val="1200"/>
              </a:spcAft>
            </a:pPr>
            <a:r>
              <a:rPr lang="fi-FI" b="1">
                <a:solidFill>
                  <a:schemeClr val="tx2"/>
                </a:solidFill>
              </a:rPr>
              <a:t>Oppaan tulee antaa tietoa ja tukea päätöksenteon tueksi sekä kannustaa ennakointii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3684A21-3F95-A84B-867D-CBAAA4201A96}"/>
              </a:ext>
            </a:extLst>
          </p:cNvPr>
          <p:cNvSpPr/>
          <p:nvPr/>
        </p:nvSpPr>
        <p:spPr>
          <a:xfrm>
            <a:off x="8693032" y="4016962"/>
            <a:ext cx="3007650" cy="221448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45720" rIns="180000" bIns="45720" rtlCol="0" anchor="ctr"/>
          <a:lstStyle/>
          <a:p>
            <a:pPr>
              <a:spcAft>
                <a:spcPts val="700"/>
              </a:spcAft>
            </a:pPr>
            <a:r>
              <a:rPr lang="fi-FI" b="1">
                <a:solidFill>
                  <a:schemeClr val="tx2"/>
                </a:solidFill>
                <a:cs typeface="Calibri" panose="020F0502020204030204" pitchFamily="34" charset="0"/>
              </a:rPr>
              <a:t>Opastus tarkemman tiedon lähteelle</a:t>
            </a:r>
          </a:p>
          <a:p>
            <a:r>
              <a:rPr lang="fi-FI">
                <a:solidFill>
                  <a:schemeClr val="tx2"/>
                </a:solidFill>
                <a:cs typeface="Calibri" panose="020F0502020204030204" pitchFamily="34" charset="0"/>
              </a:rPr>
              <a:t>Suorat yhteystiedot, ei pompottelua tai vaihteessa odottelua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3F7AC6B-22D2-DA01-3C81-8209F1DA3C61}"/>
              </a:ext>
            </a:extLst>
          </p:cNvPr>
          <p:cNvSpPr/>
          <p:nvPr/>
        </p:nvSpPr>
        <p:spPr>
          <a:xfrm>
            <a:off x="5313979" y="3528373"/>
            <a:ext cx="3175916" cy="2703073"/>
          </a:xfrm>
          <a:prstGeom prst="rect">
            <a:avLst/>
          </a:prstGeom>
          <a:solidFill>
            <a:schemeClr val="tx1">
              <a:lumMod val="20000"/>
              <a:lumOff val="80000"/>
              <a:alpha val="6988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45720" rIns="180000" bIns="45720" rtlCol="0" anchor="ctr"/>
          <a:lstStyle/>
          <a:p>
            <a:pPr>
              <a:spcAft>
                <a:spcPts val="700"/>
              </a:spcAft>
            </a:pPr>
            <a:r>
              <a:rPr lang="fi-FI" b="1">
                <a:solidFill>
                  <a:schemeClr val="tx2"/>
                </a:solidFill>
                <a:cs typeface="Calibri" panose="020F0502020204030204" pitchFamily="34" charset="0"/>
              </a:rPr>
              <a:t>Oppaan saavutettavuus ja esteettömien ratkaisujen edistäminen</a:t>
            </a:r>
          </a:p>
          <a:p>
            <a:r>
              <a:rPr lang="fi-FI">
                <a:solidFill>
                  <a:schemeClr val="tx2"/>
                </a:solidFill>
                <a:cs typeface="Calibri" panose="020F0502020204030204" pitchFamily="34" charset="0"/>
              </a:rPr>
              <a:t>Teeman laaja huomioiminen sekä itse oppaassa että oppaan sisällössä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A02104-5418-2C9A-BC21-FA82A4C10D2E}"/>
              </a:ext>
            </a:extLst>
          </p:cNvPr>
          <p:cNvSpPr/>
          <p:nvPr/>
        </p:nvSpPr>
        <p:spPr>
          <a:xfrm>
            <a:off x="5313979" y="2188997"/>
            <a:ext cx="3175916" cy="1149453"/>
          </a:xfrm>
          <a:prstGeom prst="rect">
            <a:avLst/>
          </a:prstGeom>
          <a:solidFill>
            <a:schemeClr val="tx1">
              <a:lumMod val="20000"/>
              <a:lumOff val="80000"/>
              <a:alpha val="6988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45720" rIns="180000" bIns="45720" rtlCol="0" anchor="ctr"/>
          <a:lstStyle/>
          <a:p>
            <a:r>
              <a:rPr lang="fi-FI" b="1">
                <a:solidFill>
                  <a:schemeClr val="tx2"/>
                </a:solidFill>
                <a:cs typeface="Calibri" panose="020F0502020204030204" pitchFamily="34" charset="0"/>
              </a:rPr>
              <a:t>Tietojen ajantasaisuus ja päivitettävyy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B1C1D54-A8B4-4A8C-B80D-B4426FDE21DB}"/>
              </a:ext>
            </a:extLst>
          </p:cNvPr>
          <p:cNvSpPr/>
          <p:nvPr/>
        </p:nvSpPr>
        <p:spPr>
          <a:xfrm>
            <a:off x="8693031" y="2180815"/>
            <a:ext cx="3007651" cy="175469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45720" rIns="144000" bIns="45720" rtlCol="0" anchor="ctr"/>
          <a:lstStyle/>
          <a:p>
            <a:pPr>
              <a:spcAft>
                <a:spcPts val="700"/>
              </a:spcAft>
            </a:pPr>
            <a:r>
              <a:rPr lang="fi-FI" b="1">
                <a:solidFill>
                  <a:schemeClr val="tx2"/>
                </a:solidFill>
                <a:cs typeface="Calibri" panose="020F0502020204030204" pitchFamily="34" charset="0"/>
              </a:rPr>
              <a:t>Oppaan kompakti koko </a:t>
            </a:r>
          </a:p>
          <a:p>
            <a:r>
              <a:rPr lang="fi-FI">
                <a:solidFill>
                  <a:schemeClr val="tx2"/>
                </a:solidFill>
                <a:cs typeface="Calibri" panose="020F0502020204030204" pitchFamily="34" charset="0"/>
              </a:rPr>
              <a:t>Ei tehdä liian tuhtia tietopankkia, mutta ei liian kevyttäkään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01E378E-27C2-28A2-0277-E05EE20AE56B}"/>
              </a:ext>
            </a:extLst>
          </p:cNvPr>
          <p:cNvSpPr/>
          <p:nvPr/>
        </p:nvSpPr>
        <p:spPr>
          <a:xfrm>
            <a:off x="491318" y="2219694"/>
            <a:ext cx="4619525" cy="15943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45720" rIns="180000" bIns="45720" rtlCol="0" anchor="ctr"/>
          <a:lstStyle/>
          <a:p>
            <a:pPr>
              <a:spcAft>
                <a:spcPts val="1200"/>
              </a:spcAft>
            </a:pPr>
            <a:r>
              <a:rPr lang="fi-FI" b="1">
                <a:solidFill>
                  <a:schemeClr val="tx2"/>
                </a:solidFill>
              </a:rPr>
              <a:t>Oppaan kohderyhmä</a:t>
            </a:r>
          </a:p>
          <a:p>
            <a:pPr>
              <a:spcAft>
                <a:spcPts val="1200"/>
              </a:spcAft>
            </a:pPr>
            <a:r>
              <a:rPr lang="fi-FI">
                <a:solidFill>
                  <a:schemeClr val="tx2"/>
                </a:solidFill>
              </a:rPr>
              <a:t>Ikääntyneet (+65v.), omaiset ja läheiset, kuntalaiset, työntekijät, järjestöt</a:t>
            </a:r>
          </a:p>
        </p:txBody>
      </p:sp>
    </p:spTree>
    <p:extLst>
      <p:ext uri="{BB962C8B-B14F-4D97-AF65-F5344CB8AC3E}">
        <p14:creationId xmlns:p14="http://schemas.microsoft.com/office/powerpoint/2010/main" val="29307694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36FF4F-F233-EBF7-B1C6-B784BA3688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384" y="861647"/>
            <a:ext cx="7546213" cy="1234018"/>
          </a:xfrm>
        </p:spPr>
        <p:txBody>
          <a:bodyPr/>
          <a:lstStyle/>
          <a:p>
            <a:r>
              <a:rPr lang="fi-FI"/>
              <a:t>Ikäihmisten ja ammattilaisten ajatuksia oppaan sisällöistä​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8759F4-39E5-3833-03CE-58E86B67D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z="1000">
                <a:solidFill>
                  <a:schemeClr val="tx1"/>
                </a:solidFill>
              </a:rPr>
              <a:t>Oppaan suunnittelu</a:t>
            </a:r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977FB3-FC1C-2F5B-46BC-DF7C6A5FA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11</a:t>
            </a:fld>
            <a:endParaRPr lang="fi-FI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8332DFE-B1FE-058A-E148-AC207582F799}"/>
              </a:ext>
            </a:extLst>
          </p:cNvPr>
          <p:cNvSpPr/>
          <p:nvPr/>
        </p:nvSpPr>
        <p:spPr>
          <a:xfrm>
            <a:off x="6295609" y="2323077"/>
            <a:ext cx="2699210" cy="25648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5720" rIns="108000" bIns="45720" rtlCol="0" anchor="t"/>
          <a:lstStyle/>
          <a:p>
            <a:pPr>
              <a:lnSpc>
                <a:spcPts val="2340"/>
              </a:lnSpc>
              <a:spcAft>
                <a:spcPts val="600"/>
              </a:spcAft>
            </a:pPr>
            <a:r>
              <a:rPr lang="fi-FI" b="1">
                <a:solidFill>
                  <a:schemeClr val="tx2"/>
                </a:solidFill>
              </a:rPr>
              <a:t>Ennaltaehkäisy </a:t>
            </a:r>
            <a:br>
              <a:rPr lang="fi-FI" b="1">
                <a:solidFill>
                  <a:schemeClr val="tx2"/>
                </a:solidFill>
              </a:rPr>
            </a:br>
            <a:r>
              <a:rPr lang="fi-FI" b="1">
                <a:solidFill>
                  <a:schemeClr val="tx2"/>
                </a:solidFill>
              </a:rPr>
              <a:t>ja varautuminen</a:t>
            </a:r>
            <a:endParaRPr lang="fi-FI">
              <a:solidFill>
                <a:schemeClr val="tx2"/>
              </a:solidFill>
            </a:endParaRPr>
          </a:p>
          <a:p>
            <a:pPr>
              <a:spcAft>
                <a:spcPts val="600"/>
              </a:spcAft>
              <a:buClr>
                <a:schemeClr val="tx1"/>
              </a:buClr>
            </a:pPr>
            <a:r>
              <a:rPr lang="fi-FI" sz="1600">
                <a:solidFill>
                  <a:schemeClr val="tx2"/>
                </a:solidFill>
              </a:rPr>
              <a:t>Ennakointiin kannustaminen. Sisältönä esim. Varautumisen muistilista; keskustelut omaisten kanssa, edunvalvonta-valtuutus jne.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900F8C2-20A2-6C10-5D6E-BA6A0C8E94D4}"/>
              </a:ext>
            </a:extLst>
          </p:cNvPr>
          <p:cNvSpPr/>
          <p:nvPr/>
        </p:nvSpPr>
        <p:spPr>
          <a:xfrm>
            <a:off x="322671" y="2664198"/>
            <a:ext cx="2576150" cy="31996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5720" rIns="108000" bIns="45720" rtlCol="0" anchor="t"/>
          <a:lstStyle/>
          <a:p>
            <a:pPr>
              <a:spcAft>
                <a:spcPts val="600"/>
              </a:spcAft>
            </a:pPr>
            <a:r>
              <a:rPr lang="fi-FI" b="1">
                <a:solidFill>
                  <a:schemeClr val="tx2"/>
                </a:solidFill>
              </a:rPr>
              <a:t>Asumisvaihtoehdot</a:t>
            </a:r>
            <a:endParaRPr lang="fi-FI">
              <a:solidFill>
                <a:schemeClr val="tx2"/>
              </a:solidFill>
            </a:endParaRPr>
          </a:p>
          <a:p>
            <a:pPr>
              <a:spcAft>
                <a:spcPts val="600"/>
              </a:spcAft>
              <a:buClr>
                <a:schemeClr val="tx1"/>
              </a:buClr>
            </a:pPr>
            <a:r>
              <a:rPr lang="fi-FI" sz="1600">
                <a:solidFill>
                  <a:schemeClr val="tx2"/>
                </a:solidFill>
              </a:rPr>
              <a:t>Esiteltynä tarjolla olevat vaihtoehdot skenaarioiden kautta: remontti, vaihtaako pienempään, kerrostalo, palveluasuminen.</a:t>
            </a:r>
          </a:p>
          <a:p>
            <a:pPr>
              <a:spcAft>
                <a:spcPts val="600"/>
              </a:spcAft>
              <a:buClr>
                <a:schemeClr val="tx1"/>
              </a:buClr>
            </a:pPr>
            <a:r>
              <a:rPr lang="fi-FI" sz="1600">
                <a:solidFill>
                  <a:schemeClr val="tx2"/>
                </a:solidFill>
              </a:rPr>
              <a:t>Vaihtoehtojen vertailu; edut, haitat, kustannukset.</a:t>
            </a:r>
          </a:p>
          <a:p>
            <a:pPr>
              <a:spcAft>
                <a:spcPts val="600"/>
              </a:spcAft>
              <a:buClr>
                <a:schemeClr val="tx1"/>
              </a:buClr>
            </a:pPr>
            <a:endParaRPr lang="fi-FI">
              <a:solidFill>
                <a:schemeClr val="tx2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D1D816E-0DA1-2314-DD24-0B014F587322}"/>
              </a:ext>
            </a:extLst>
          </p:cNvPr>
          <p:cNvSpPr/>
          <p:nvPr/>
        </p:nvSpPr>
        <p:spPr>
          <a:xfrm>
            <a:off x="3276182" y="4873829"/>
            <a:ext cx="2704619" cy="14456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5720" rIns="108000" bIns="45720" rtlCol="0" anchor="t"/>
          <a:lstStyle/>
          <a:p>
            <a:pPr>
              <a:spcAft>
                <a:spcPts val="600"/>
              </a:spcAft>
            </a:pPr>
            <a:r>
              <a:rPr lang="fi-FI" b="1">
                <a:solidFill>
                  <a:schemeClr val="tx2"/>
                </a:solidFill>
              </a:rPr>
              <a:t>Yhteystiedot</a:t>
            </a:r>
            <a:endParaRPr lang="fi-FI">
              <a:solidFill>
                <a:schemeClr val="tx2"/>
              </a:solidFill>
            </a:endParaRPr>
          </a:p>
          <a:p>
            <a:pPr>
              <a:spcAft>
                <a:spcPts val="600"/>
              </a:spcAft>
              <a:buClr>
                <a:schemeClr val="tx1"/>
              </a:buClr>
            </a:pPr>
            <a:r>
              <a:rPr lang="fi-FI" sz="1600">
                <a:solidFill>
                  <a:schemeClr val="tx2"/>
                </a:solidFill>
              </a:rPr>
              <a:t>Myös yhdistykset (kylä ja omakotitalo) sekä yksityiset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927AE62-E393-E568-5736-DFBB12DEBD5C}"/>
              </a:ext>
            </a:extLst>
          </p:cNvPr>
          <p:cNvSpPr/>
          <p:nvPr/>
        </p:nvSpPr>
        <p:spPr>
          <a:xfrm>
            <a:off x="6307524" y="4862697"/>
            <a:ext cx="2699211" cy="16955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5720" rIns="108000" bIns="45720" rtlCol="0" anchor="t"/>
          <a:lstStyle/>
          <a:p>
            <a:pPr>
              <a:spcAft>
                <a:spcPts val="600"/>
              </a:spcAft>
            </a:pPr>
            <a:r>
              <a:rPr lang="fi-FI" b="1">
                <a:solidFill>
                  <a:schemeClr val="tx2"/>
                </a:solidFill>
              </a:rPr>
              <a:t>Asumisen tuet ja apuvälineet</a:t>
            </a:r>
            <a:endParaRPr lang="fi-FI">
              <a:solidFill>
                <a:schemeClr val="tx2"/>
              </a:solidFill>
            </a:endParaRPr>
          </a:p>
          <a:p>
            <a:pPr>
              <a:spcAft>
                <a:spcPts val="600"/>
              </a:spcAft>
              <a:buClr>
                <a:schemeClr val="tx1"/>
              </a:buClr>
            </a:pPr>
            <a:r>
              <a:rPr lang="fi-FI" sz="1600">
                <a:solidFill>
                  <a:schemeClr val="tx2"/>
                </a:solidFill>
              </a:rPr>
              <a:t>Kelan tuet asumiseen, apuvälineet ja hälyttimet remonttituet.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8A32F60-FCF9-38C1-0061-80875FEB13CE}"/>
              </a:ext>
            </a:extLst>
          </p:cNvPr>
          <p:cNvSpPr/>
          <p:nvPr/>
        </p:nvSpPr>
        <p:spPr>
          <a:xfrm>
            <a:off x="3276183" y="2664199"/>
            <a:ext cx="2819818" cy="34093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5720" rIns="108000" bIns="45720" rtlCol="0" anchor="t"/>
          <a:lstStyle/>
          <a:p>
            <a:pPr>
              <a:spcAft>
                <a:spcPts val="600"/>
              </a:spcAft>
            </a:pPr>
            <a:r>
              <a:rPr lang="fi-FI" b="1">
                <a:solidFill>
                  <a:schemeClr val="tx2"/>
                </a:solidFill>
              </a:rPr>
              <a:t>Palvelut kotiin</a:t>
            </a:r>
            <a:endParaRPr lang="fi-FI">
              <a:solidFill>
                <a:schemeClr val="tx2"/>
              </a:solidFill>
            </a:endParaRPr>
          </a:p>
          <a:p>
            <a:pPr>
              <a:spcAft>
                <a:spcPts val="600"/>
              </a:spcAft>
              <a:buClr>
                <a:schemeClr val="tx1"/>
              </a:buClr>
            </a:pPr>
            <a:r>
              <a:rPr lang="fi-FI" sz="1600">
                <a:solidFill>
                  <a:schemeClr val="tx2"/>
                </a:solidFill>
              </a:rPr>
              <a:t>Mitä tarjolla, mistä, mihin tarpeisiin? Kunnan palvelut (HYTE), hyvinvointialueen palvelut sekä yksityiset ja kolmannen sektorin palvelut.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4968660-7E84-0C9E-6069-EE84E064A4AD}"/>
              </a:ext>
            </a:extLst>
          </p:cNvPr>
          <p:cNvSpPr/>
          <p:nvPr/>
        </p:nvSpPr>
        <p:spPr>
          <a:xfrm>
            <a:off x="9354885" y="2664199"/>
            <a:ext cx="2514444" cy="23189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5720" rIns="108000" bIns="45720" rtlCol="0" anchor="t"/>
          <a:lstStyle/>
          <a:p>
            <a:pPr>
              <a:spcAft>
                <a:spcPts val="600"/>
              </a:spcAft>
            </a:pPr>
            <a:r>
              <a:rPr lang="fi-FI" b="1">
                <a:solidFill>
                  <a:schemeClr val="tx2"/>
                </a:solidFill>
              </a:rPr>
              <a:t>+ Vinkit ja neuvot</a:t>
            </a:r>
            <a:endParaRPr lang="fi-FI">
              <a:solidFill>
                <a:schemeClr val="tx2"/>
              </a:solidFill>
              <a:cs typeface="Calibri"/>
            </a:endParaRPr>
          </a:p>
          <a:p>
            <a:pPr>
              <a:spcAft>
                <a:spcPts val="600"/>
              </a:spcAft>
              <a:buClr>
                <a:schemeClr val="tx1"/>
              </a:buClr>
            </a:pPr>
            <a:r>
              <a:rPr lang="fi-FI" sz="1600">
                <a:solidFill>
                  <a:schemeClr val="tx2"/>
                </a:solidFill>
              </a:rPr>
              <a:t>Vinkkejä edellisiin aiheisiin sekä esim. sopimuksien tekemiseen. </a:t>
            </a:r>
            <a:endParaRPr lang="fi-FI" sz="1600">
              <a:solidFill>
                <a:schemeClr val="tx2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433731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36FF4F-F233-EBF7-B1C6-B784BA3688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709" y="861647"/>
            <a:ext cx="8337372" cy="1234018"/>
          </a:xfrm>
        </p:spPr>
        <p:txBody>
          <a:bodyPr/>
          <a:lstStyle/>
          <a:p>
            <a:r>
              <a:rPr lang="fi-FI">
                <a:latin typeface="Helvetica"/>
                <a:ea typeface="Verdana"/>
                <a:cs typeface="Arial"/>
              </a:rPr>
              <a:t>Olemassa olevat materiaalit, joita oppaassa voidaan hyödyntää</a:t>
            </a:r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8759F4-39E5-3833-03CE-58E86B67D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z="1000">
                <a:solidFill>
                  <a:schemeClr val="tx1"/>
                </a:solidFill>
              </a:rPr>
              <a:t>Oppaan suunnittelu</a:t>
            </a:r>
            <a:endParaRPr lang="fi-FI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B14596-4A85-60DC-940B-6062BE8D4E20}"/>
              </a:ext>
            </a:extLst>
          </p:cNvPr>
          <p:cNvSpPr/>
          <p:nvPr/>
        </p:nvSpPr>
        <p:spPr>
          <a:xfrm>
            <a:off x="10484285" y="5495221"/>
            <a:ext cx="1579750" cy="1208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94BA45-1851-2CF9-AF80-73914672485A}"/>
              </a:ext>
            </a:extLst>
          </p:cNvPr>
          <p:cNvSpPr/>
          <p:nvPr/>
        </p:nvSpPr>
        <p:spPr>
          <a:xfrm>
            <a:off x="3276183" y="4953112"/>
            <a:ext cx="2614803" cy="14456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5720" rIns="108000" bIns="45720" rtlCol="0" anchor="t"/>
          <a:lstStyle/>
          <a:p>
            <a:pPr>
              <a:spcAft>
                <a:spcPts val="600"/>
              </a:spcAft>
            </a:pPr>
            <a:r>
              <a:rPr lang="fi-FI" b="1">
                <a:solidFill>
                  <a:schemeClr val="tx2"/>
                </a:solidFill>
              </a:rPr>
              <a:t>Yhteystiedot</a:t>
            </a:r>
            <a:endParaRPr lang="fi-FI">
              <a:solidFill>
                <a:schemeClr val="tx2"/>
              </a:solidFill>
            </a:endParaRPr>
          </a:p>
          <a:p>
            <a:pPr marL="285750" indent="-28575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2"/>
                </a:solidFill>
              </a:rPr>
              <a:t>Ikäneuvonta, hyvinvointitarjotin</a:t>
            </a:r>
          </a:p>
          <a:p>
            <a:pPr marL="285750" indent="-28575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2"/>
                </a:solidFill>
              </a:rPr>
              <a:t>Terveyspalveluissa hyvinvointialueen omat sivu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1E2CD47-0C57-160C-9152-F6A2708D4373}"/>
              </a:ext>
            </a:extLst>
          </p:cNvPr>
          <p:cNvSpPr/>
          <p:nvPr/>
        </p:nvSpPr>
        <p:spPr>
          <a:xfrm>
            <a:off x="6307524" y="4703192"/>
            <a:ext cx="2699211" cy="16955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5720" rIns="108000" bIns="45720" rtlCol="0" anchor="t"/>
          <a:lstStyle/>
          <a:p>
            <a:pPr>
              <a:spcAft>
                <a:spcPts val="600"/>
              </a:spcAft>
            </a:pPr>
            <a:r>
              <a:rPr lang="fi-FI" b="1">
                <a:solidFill>
                  <a:schemeClr val="tx2"/>
                </a:solidFill>
              </a:rPr>
              <a:t>Asumisen tuet</a:t>
            </a:r>
            <a:endParaRPr lang="fi-FI">
              <a:solidFill>
                <a:schemeClr val="tx2"/>
              </a:solidFill>
            </a:endParaRPr>
          </a:p>
          <a:p>
            <a:pPr marL="285750" indent="-285750">
              <a:spcAft>
                <a:spcPts val="1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2"/>
                </a:solidFill>
              </a:rPr>
              <a:t>Kela</a:t>
            </a:r>
          </a:p>
          <a:p>
            <a:pPr marL="285750" indent="-285750">
              <a:spcAft>
                <a:spcPts val="1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 err="1">
                <a:solidFill>
                  <a:schemeClr val="tx2"/>
                </a:solidFill>
              </a:rPr>
              <a:t>Vero.fi</a:t>
            </a:r>
            <a:r>
              <a:rPr lang="fi-FI" sz="1400">
                <a:solidFill>
                  <a:schemeClr val="tx2"/>
                </a:solidFill>
              </a:rPr>
              <a:t> (kotitalousvähennys)</a:t>
            </a:r>
          </a:p>
          <a:p>
            <a:pPr marL="285750" indent="-285750">
              <a:spcAft>
                <a:spcPts val="1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 err="1">
                <a:solidFill>
                  <a:schemeClr val="tx2"/>
                </a:solidFill>
              </a:rPr>
              <a:t>Muistiliitto.fi</a:t>
            </a:r>
            <a:endParaRPr lang="fi-FI" sz="1400">
              <a:solidFill>
                <a:schemeClr val="tx2"/>
              </a:solidFill>
            </a:endParaRPr>
          </a:p>
          <a:p>
            <a:pPr marL="285750" indent="-285750">
              <a:spcAft>
                <a:spcPts val="1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2"/>
                </a:solidFill>
              </a:rPr>
              <a:t>Vanhustyön keskusliitto</a:t>
            </a:r>
          </a:p>
          <a:p>
            <a:pPr marL="285750" indent="-285750">
              <a:spcAft>
                <a:spcPts val="1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2"/>
                </a:solidFill>
              </a:rPr>
              <a:t>Korjausneuvonta</a:t>
            </a:r>
          </a:p>
          <a:p>
            <a:pPr marL="285750" indent="-285750">
              <a:spcAft>
                <a:spcPts val="1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2"/>
                </a:solidFill>
              </a:rPr>
              <a:t>Apuvälinelainaamo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B3DDE47-9B59-C874-2612-210D090E5610}"/>
              </a:ext>
            </a:extLst>
          </p:cNvPr>
          <p:cNvSpPr/>
          <p:nvPr/>
        </p:nvSpPr>
        <p:spPr>
          <a:xfrm>
            <a:off x="6295609" y="2313028"/>
            <a:ext cx="2765472" cy="25648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5720" rIns="108000" bIns="45720" rtlCol="0" anchor="t"/>
          <a:lstStyle/>
          <a:p>
            <a:pPr>
              <a:lnSpc>
                <a:spcPts val="2340"/>
              </a:lnSpc>
              <a:spcAft>
                <a:spcPts val="600"/>
              </a:spcAft>
            </a:pPr>
            <a:r>
              <a:rPr lang="fi-FI" b="1">
                <a:solidFill>
                  <a:schemeClr val="tx2"/>
                </a:solidFill>
              </a:rPr>
              <a:t>Ennaltaehkäisy </a:t>
            </a:r>
            <a:br>
              <a:rPr lang="fi-FI" b="1">
                <a:solidFill>
                  <a:schemeClr val="tx2"/>
                </a:solidFill>
              </a:rPr>
            </a:br>
            <a:r>
              <a:rPr lang="fi-FI" b="1">
                <a:solidFill>
                  <a:schemeClr val="tx2"/>
                </a:solidFill>
              </a:rPr>
              <a:t>ja varautuminen</a:t>
            </a:r>
            <a:endParaRPr lang="fi-FI">
              <a:solidFill>
                <a:schemeClr val="tx2"/>
              </a:solidFill>
            </a:endParaRPr>
          </a:p>
          <a:p>
            <a:pPr marL="342900" indent="-34290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tx2"/>
                </a:solidFill>
              </a:rPr>
              <a:t>Digi- </a:t>
            </a:r>
            <a:r>
              <a:rPr lang="en-GB" sz="1400" err="1">
                <a:solidFill>
                  <a:schemeClr val="tx2"/>
                </a:solidFill>
              </a:rPr>
              <a:t>ja</a:t>
            </a:r>
            <a:r>
              <a:rPr lang="en-GB" sz="1400">
                <a:solidFill>
                  <a:schemeClr val="tx2"/>
                </a:solidFill>
              </a:rPr>
              <a:t> </a:t>
            </a:r>
            <a:r>
              <a:rPr lang="en-GB" sz="1400" err="1">
                <a:solidFill>
                  <a:schemeClr val="tx2"/>
                </a:solidFill>
              </a:rPr>
              <a:t>väestövirasto</a:t>
            </a:r>
            <a:endParaRPr lang="en-GB" sz="1400">
              <a:solidFill>
                <a:schemeClr val="tx2"/>
              </a:solidFill>
            </a:endParaRPr>
          </a:p>
          <a:p>
            <a:pPr marL="342900" indent="-34290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400" err="1">
                <a:solidFill>
                  <a:schemeClr val="tx2"/>
                </a:solidFill>
              </a:rPr>
              <a:t>Miten</a:t>
            </a:r>
            <a:r>
              <a:rPr lang="en-GB" sz="1400">
                <a:solidFill>
                  <a:schemeClr val="tx2"/>
                </a:solidFill>
              </a:rPr>
              <a:t> </a:t>
            </a:r>
            <a:r>
              <a:rPr lang="en-GB" sz="1400" err="1">
                <a:solidFill>
                  <a:schemeClr val="tx2"/>
                </a:solidFill>
              </a:rPr>
              <a:t>turvaan</a:t>
            </a:r>
            <a:r>
              <a:rPr lang="en-GB" sz="1400">
                <a:solidFill>
                  <a:schemeClr val="tx2"/>
                </a:solidFill>
              </a:rPr>
              <a:t> </a:t>
            </a:r>
            <a:r>
              <a:rPr lang="en-GB" sz="1400" err="1">
                <a:solidFill>
                  <a:schemeClr val="tx2"/>
                </a:solidFill>
              </a:rPr>
              <a:t>tahtoni</a:t>
            </a:r>
            <a:r>
              <a:rPr lang="en-GB" sz="1400">
                <a:solidFill>
                  <a:schemeClr val="tx2"/>
                </a:solidFill>
              </a:rPr>
              <a:t> </a:t>
            </a:r>
            <a:r>
              <a:rPr lang="en-GB" sz="1400" err="1">
                <a:solidFill>
                  <a:schemeClr val="tx2"/>
                </a:solidFill>
              </a:rPr>
              <a:t>toteutumisen</a:t>
            </a:r>
            <a:r>
              <a:rPr lang="en-GB" sz="1400">
                <a:solidFill>
                  <a:schemeClr val="tx2"/>
                </a:solidFill>
              </a:rPr>
              <a:t>? </a:t>
            </a:r>
            <a:r>
              <a:rPr lang="en-GB" sz="1400" err="1">
                <a:solidFill>
                  <a:schemeClr val="tx2"/>
                </a:solidFill>
              </a:rPr>
              <a:t>Opas</a:t>
            </a:r>
            <a:r>
              <a:rPr lang="en-GB" sz="1400">
                <a:solidFill>
                  <a:schemeClr val="tx2"/>
                </a:solidFill>
              </a:rPr>
              <a:t> </a:t>
            </a:r>
            <a:r>
              <a:rPr lang="en-GB" sz="1400" err="1">
                <a:solidFill>
                  <a:schemeClr val="tx2"/>
                </a:solidFill>
              </a:rPr>
              <a:t>oikeudelliseen</a:t>
            </a:r>
            <a:r>
              <a:rPr lang="en-GB" sz="1400">
                <a:solidFill>
                  <a:schemeClr val="tx2"/>
                </a:solidFill>
              </a:rPr>
              <a:t> </a:t>
            </a:r>
            <a:r>
              <a:rPr lang="en-GB" sz="1400" err="1">
                <a:solidFill>
                  <a:schemeClr val="tx2"/>
                </a:solidFill>
              </a:rPr>
              <a:t>ennakointiin</a:t>
            </a:r>
            <a:endParaRPr lang="en-GB" sz="1400">
              <a:solidFill>
                <a:schemeClr val="tx2"/>
              </a:solidFill>
            </a:endParaRPr>
          </a:p>
          <a:p>
            <a:pPr marL="342900" indent="-34290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1400" err="1">
                <a:solidFill>
                  <a:schemeClr val="tx2"/>
                </a:solidFill>
              </a:rPr>
              <a:t>Suomi.fi</a:t>
            </a:r>
            <a:r>
              <a:rPr lang="en-GB" sz="1400">
                <a:solidFill>
                  <a:schemeClr val="tx2"/>
                </a:solidFill>
              </a:rPr>
              <a:t> </a:t>
            </a:r>
            <a:r>
              <a:rPr lang="en-GB" sz="1400" err="1">
                <a:solidFill>
                  <a:schemeClr val="tx2"/>
                </a:solidFill>
              </a:rPr>
              <a:t>puolesta-asiointi</a:t>
            </a:r>
            <a:endParaRPr lang="en-GB" sz="1400">
              <a:solidFill>
                <a:schemeClr val="tx2"/>
              </a:solidFill>
            </a:endParaRPr>
          </a:p>
          <a:p>
            <a:pPr>
              <a:spcAft>
                <a:spcPts val="600"/>
              </a:spcAft>
            </a:pPr>
            <a:endParaRPr lang="fi-FI">
              <a:solidFill>
                <a:schemeClr val="tx2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09AD639-DD26-1CDF-46FC-D95F03313F69}"/>
              </a:ext>
            </a:extLst>
          </p:cNvPr>
          <p:cNvSpPr/>
          <p:nvPr/>
        </p:nvSpPr>
        <p:spPr>
          <a:xfrm>
            <a:off x="322670" y="2646606"/>
            <a:ext cx="2819817" cy="31996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5720" rIns="108000" bIns="45720" rtlCol="0" anchor="t"/>
          <a:lstStyle/>
          <a:p>
            <a:pPr>
              <a:spcAft>
                <a:spcPts val="600"/>
              </a:spcAft>
            </a:pPr>
            <a:r>
              <a:rPr lang="fi-FI" b="1">
                <a:solidFill>
                  <a:schemeClr val="tx2"/>
                </a:solidFill>
              </a:rPr>
              <a:t>Asumisvaihtoehdot</a:t>
            </a:r>
            <a:endParaRPr lang="fi-FI">
              <a:solidFill>
                <a:schemeClr val="tx2"/>
              </a:solidFill>
            </a:endParaRPr>
          </a:p>
          <a:p>
            <a:pPr marL="285750" indent="-28575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 err="1">
                <a:solidFill>
                  <a:schemeClr val="tx2"/>
                </a:solidFill>
              </a:rPr>
              <a:t>Vanheneminen.fi</a:t>
            </a:r>
            <a:endParaRPr lang="fi-FI" sz="1400">
              <a:solidFill>
                <a:schemeClr val="tx2"/>
              </a:solidFill>
            </a:endParaRPr>
          </a:p>
          <a:p>
            <a:pPr marL="285750" indent="-28575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2"/>
                </a:solidFill>
              </a:rPr>
              <a:t>Kuntien sivuille linkit tai yhteystiedot, mihin ottaa yhteyttä asuntoa hakiessa</a:t>
            </a:r>
          </a:p>
          <a:p>
            <a:pPr marL="285750" indent="-28575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 err="1">
                <a:solidFill>
                  <a:schemeClr val="tx2"/>
                </a:solidFill>
              </a:rPr>
              <a:t>Ara.fi</a:t>
            </a:r>
            <a:endParaRPr lang="fi-FI" sz="1400">
              <a:solidFill>
                <a:schemeClr val="tx2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4E7660B-84EA-6A31-A152-F1273965527C}"/>
              </a:ext>
            </a:extLst>
          </p:cNvPr>
          <p:cNvSpPr/>
          <p:nvPr/>
        </p:nvSpPr>
        <p:spPr>
          <a:xfrm>
            <a:off x="3276183" y="2646607"/>
            <a:ext cx="2819818" cy="21817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5720" rIns="108000" bIns="45720" rtlCol="0" anchor="t"/>
          <a:lstStyle/>
          <a:p>
            <a:pPr>
              <a:spcAft>
                <a:spcPts val="600"/>
              </a:spcAft>
            </a:pPr>
            <a:r>
              <a:rPr lang="fi-FI" b="1">
                <a:solidFill>
                  <a:schemeClr val="tx2"/>
                </a:solidFill>
              </a:rPr>
              <a:t>Palvelut kotiin</a:t>
            </a:r>
            <a:endParaRPr lang="fi-FI">
              <a:solidFill>
                <a:schemeClr val="tx2"/>
              </a:solidFill>
            </a:endParaRPr>
          </a:p>
          <a:p>
            <a:pPr marL="285750" indent="-28575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 err="1">
                <a:solidFill>
                  <a:schemeClr val="tx2"/>
                </a:solidFill>
              </a:rPr>
              <a:t>Tarjoomo</a:t>
            </a:r>
            <a:r>
              <a:rPr lang="fi-FI" sz="1400">
                <a:solidFill>
                  <a:schemeClr val="tx2"/>
                </a:solidFill>
              </a:rPr>
              <a:t>, </a:t>
            </a:r>
            <a:r>
              <a:rPr lang="fi-FI" sz="1400" err="1">
                <a:solidFill>
                  <a:schemeClr val="tx2"/>
                </a:solidFill>
              </a:rPr>
              <a:t>sansia</a:t>
            </a:r>
            <a:r>
              <a:rPr lang="fi-FI" sz="1400">
                <a:solidFill>
                  <a:schemeClr val="tx2"/>
                </a:solidFill>
              </a:rPr>
              <a:t>, </a:t>
            </a:r>
            <a:r>
              <a:rPr lang="fi-FI" sz="1400" err="1">
                <a:solidFill>
                  <a:schemeClr val="tx2"/>
                </a:solidFill>
              </a:rPr>
              <a:t>pali</a:t>
            </a:r>
            <a:r>
              <a:rPr lang="fi-FI" sz="1400">
                <a:solidFill>
                  <a:schemeClr val="tx2"/>
                </a:solidFill>
              </a:rPr>
              <a:t>-kyyti kuntien sivuilta</a:t>
            </a:r>
          </a:p>
          <a:p>
            <a:pPr marL="285750" indent="-28575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2"/>
                </a:solidFill>
              </a:rPr>
              <a:t>Ruoka: K-kauppa kotiinkuljetus ja yksityiset ateriapalvelut</a:t>
            </a:r>
          </a:p>
          <a:p>
            <a:pPr marL="285750" indent="-28575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2"/>
                </a:solidFill>
              </a:rPr>
              <a:t>Ikäneuvonta</a:t>
            </a:r>
          </a:p>
          <a:p>
            <a:pPr marL="285750" indent="-28575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 err="1">
                <a:solidFill>
                  <a:schemeClr val="tx2"/>
                </a:solidFill>
              </a:rPr>
              <a:t>Vahvike.fi</a:t>
            </a:r>
            <a:r>
              <a:rPr lang="fi-FI" sz="1400">
                <a:solidFill>
                  <a:schemeClr val="tx2"/>
                </a:solidFill>
              </a:rPr>
              <a:t> (viriketoiminta)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2EDBEA1-84E5-FF6A-5E8F-9664B7AB3230}"/>
              </a:ext>
            </a:extLst>
          </p:cNvPr>
          <p:cNvSpPr/>
          <p:nvPr/>
        </p:nvSpPr>
        <p:spPr>
          <a:xfrm>
            <a:off x="9354885" y="2509491"/>
            <a:ext cx="2709150" cy="23189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5720" rIns="108000" bIns="45720" rtlCol="0" anchor="t"/>
          <a:lstStyle/>
          <a:p>
            <a:pPr>
              <a:spcAft>
                <a:spcPts val="600"/>
              </a:spcAft>
            </a:pPr>
            <a:r>
              <a:rPr lang="fi-FI" b="1">
                <a:solidFill>
                  <a:schemeClr val="tx2"/>
                </a:solidFill>
              </a:rPr>
              <a:t>+ Vinkit</a:t>
            </a:r>
            <a:endParaRPr lang="fi-FI">
              <a:solidFill>
                <a:schemeClr val="tx2"/>
              </a:solidFill>
            </a:endParaRPr>
          </a:p>
          <a:p>
            <a:pPr marL="285750" indent="-28575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2"/>
                </a:solidFill>
              </a:rPr>
              <a:t>Asiakasohjaajat ja ikäihmise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9EB1E4C-28E1-2532-4288-B3086F975C19}"/>
              </a:ext>
            </a:extLst>
          </p:cNvPr>
          <p:cNvSpPr/>
          <p:nvPr/>
        </p:nvSpPr>
        <p:spPr>
          <a:xfrm>
            <a:off x="9354885" y="3800497"/>
            <a:ext cx="2709150" cy="23189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5720" rIns="108000" bIns="45720" rtlCol="0" anchor="t"/>
          <a:lstStyle/>
          <a:p>
            <a:pPr>
              <a:spcAft>
                <a:spcPts val="600"/>
              </a:spcAft>
            </a:pPr>
            <a:r>
              <a:rPr lang="fi-FI" b="1">
                <a:solidFill>
                  <a:schemeClr val="tx2"/>
                </a:solidFill>
              </a:rPr>
              <a:t>Turvallisuus</a:t>
            </a:r>
            <a:endParaRPr lang="fi-FI">
              <a:solidFill>
                <a:schemeClr val="tx2"/>
              </a:solidFill>
            </a:endParaRPr>
          </a:p>
          <a:p>
            <a:pPr marL="285750" indent="-285750">
              <a:spcAft>
                <a:spcPts val="1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 err="1">
                <a:solidFill>
                  <a:schemeClr val="tx2"/>
                </a:solidFill>
              </a:rPr>
              <a:t>Pelastustoimi.fi</a:t>
            </a:r>
            <a:endParaRPr lang="fi-FI" sz="1400">
              <a:solidFill>
                <a:schemeClr val="tx2"/>
              </a:solidFill>
            </a:endParaRPr>
          </a:p>
          <a:p>
            <a:pPr marL="285750" indent="-285750">
              <a:spcAft>
                <a:spcPts val="1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 err="1">
                <a:solidFill>
                  <a:schemeClr val="tx2"/>
                </a:solidFill>
              </a:rPr>
              <a:t>Ikäinstituutti.fi</a:t>
            </a:r>
            <a:endParaRPr lang="fi-FI" sz="1400">
              <a:solidFill>
                <a:schemeClr val="tx2"/>
              </a:solidFill>
            </a:endParaRPr>
          </a:p>
          <a:p>
            <a:pPr marL="285750" indent="-285750">
              <a:spcAft>
                <a:spcPts val="1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2"/>
                </a:solidFill>
              </a:rPr>
              <a:t>Turvapuhelimet</a:t>
            </a:r>
          </a:p>
          <a:p>
            <a:pPr marL="285750" indent="-285750">
              <a:spcAft>
                <a:spcPts val="1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 err="1">
                <a:solidFill>
                  <a:schemeClr val="tx2"/>
                </a:solidFill>
              </a:rPr>
              <a:t>Dementiaonlineshop.com</a:t>
            </a:r>
            <a:endParaRPr lang="fi-FI" sz="1400">
              <a:solidFill>
                <a:schemeClr val="tx2"/>
              </a:solidFill>
            </a:endParaRPr>
          </a:p>
          <a:p>
            <a:pPr marL="285750" indent="-285750">
              <a:spcAft>
                <a:spcPts val="1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2"/>
                </a:solidFill>
              </a:rPr>
              <a:t>Gigantti, Power</a:t>
            </a:r>
          </a:p>
        </p:txBody>
      </p:sp>
    </p:spTree>
    <p:extLst>
      <p:ext uri="{BB962C8B-B14F-4D97-AF65-F5344CB8AC3E}">
        <p14:creationId xmlns:p14="http://schemas.microsoft.com/office/powerpoint/2010/main" val="36388359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A824D5-7301-C158-7759-A3D51886A4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>
                <a:latin typeface="Helvetica"/>
                <a:ea typeface="Verdana"/>
                <a:cs typeface="Arial"/>
              </a:rPr>
              <a:t>Tunnistettuja kompastuskiviä</a:t>
            </a:r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BD48A3-1FD2-DE34-16D9-37EB42B8AD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z="1000">
                <a:solidFill>
                  <a:schemeClr val="tx1"/>
                </a:solidFill>
              </a:rPr>
              <a:t>Oppaan suunnittelu</a:t>
            </a:r>
            <a:endParaRPr lang="fi-FI"/>
          </a:p>
          <a:p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9FB7E7-D61B-0204-7C6D-A483CA801D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13</a:t>
            </a:fld>
            <a:endParaRPr lang="fi-FI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618A4A6-CE2B-4837-A104-267BC1BEBE4A}"/>
              </a:ext>
            </a:extLst>
          </p:cNvPr>
          <p:cNvSpPr txBox="1">
            <a:spLocks/>
          </p:cNvSpPr>
          <p:nvPr/>
        </p:nvSpPr>
        <p:spPr>
          <a:xfrm>
            <a:off x="4748295" y="2411346"/>
            <a:ext cx="6944941" cy="515474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2000" err="1">
                <a:latin typeface="+mn-lt"/>
              </a:rPr>
              <a:t>Opas</a:t>
            </a:r>
            <a:r>
              <a:rPr lang="en-GB" sz="2000">
                <a:latin typeface="+mn-lt"/>
              </a:rPr>
              <a:t> </a:t>
            </a:r>
            <a:r>
              <a:rPr lang="en-GB" sz="2000" err="1">
                <a:latin typeface="+mn-lt"/>
              </a:rPr>
              <a:t>ei</a:t>
            </a:r>
            <a:r>
              <a:rPr lang="en-GB" sz="2000">
                <a:latin typeface="+mn-lt"/>
              </a:rPr>
              <a:t> ole </a:t>
            </a:r>
            <a:r>
              <a:rPr lang="en-GB" sz="2000" err="1">
                <a:latin typeface="+mn-lt"/>
              </a:rPr>
              <a:t>selkokielinen</a:t>
            </a:r>
            <a:r>
              <a:rPr lang="en-GB" sz="2000">
                <a:latin typeface="+mn-lt"/>
              </a:rPr>
              <a:t> tai </a:t>
            </a:r>
            <a:r>
              <a:rPr lang="en-GB" sz="2000" err="1">
                <a:latin typeface="+mn-lt"/>
              </a:rPr>
              <a:t>helppolukuinen</a:t>
            </a:r>
            <a:endParaRPr lang="en-GB" sz="2000">
              <a:latin typeface="+mn-lt"/>
            </a:endParaRP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2000" err="1">
                <a:latin typeface="+mn-lt"/>
              </a:rPr>
              <a:t>Tarvittava</a:t>
            </a:r>
            <a:r>
              <a:rPr lang="en-GB" sz="2000">
                <a:latin typeface="+mn-lt"/>
              </a:rPr>
              <a:t> </a:t>
            </a:r>
            <a:r>
              <a:rPr lang="en-GB" sz="2000" err="1">
                <a:latin typeface="+mn-lt"/>
              </a:rPr>
              <a:t>tieto</a:t>
            </a:r>
            <a:r>
              <a:rPr lang="en-GB" sz="2000">
                <a:latin typeface="+mn-lt"/>
              </a:rPr>
              <a:t> </a:t>
            </a:r>
            <a:r>
              <a:rPr lang="en-GB" sz="2000" err="1">
                <a:latin typeface="+mn-lt"/>
              </a:rPr>
              <a:t>voi</a:t>
            </a:r>
            <a:r>
              <a:rPr lang="en-GB" sz="2000">
                <a:latin typeface="+mn-lt"/>
              </a:rPr>
              <a:t> </a:t>
            </a:r>
            <a:r>
              <a:rPr lang="en-GB" sz="2000" err="1">
                <a:latin typeface="+mn-lt"/>
              </a:rPr>
              <a:t>herkästi</a:t>
            </a:r>
            <a:r>
              <a:rPr lang="en-GB" sz="2000">
                <a:latin typeface="+mn-lt"/>
              </a:rPr>
              <a:t> </a:t>
            </a:r>
            <a:r>
              <a:rPr lang="en-GB" sz="2000" err="1">
                <a:latin typeface="+mn-lt"/>
              </a:rPr>
              <a:t>kasvaa</a:t>
            </a:r>
            <a:r>
              <a:rPr lang="en-GB" sz="2000">
                <a:latin typeface="+mn-lt"/>
              </a:rPr>
              <a:t> </a:t>
            </a:r>
            <a:r>
              <a:rPr lang="en-GB" sz="2000" err="1">
                <a:latin typeface="+mn-lt"/>
              </a:rPr>
              <a:t>laajaksi</a:t>
            </a:r>
            <a:r>
              <a:rPr lang="en-GB" sz="2000">
                <a:latin typeface="+mn-lt"/>
              </a:rPr>
              <a:t> </a:t>
            </a:r>
            <a:r>
              <a:rPr lang="en-GB" sz="2000" err="1">
                <a:latin typeface="+mn-lt"/>
              </a:rPr>
              <a:t>ja</a:t>
            </a:r>
            <a:r>
              <a:rPr lang="en-GB" sz="2000">
                <a:latin typeface="+mn-lt"/>
              </a:rPr>
              <a:t> </a:t>
            </a:r>
            <a:r>
              <a:rPr lang="en-GB" sz="2000" err="1">
                <a:latin typeface="+mn-lt"/>
              </a:rPr>
              <a:t>oppaasta</a:t>
            </a:r>
            <a:r>
              <a:rPr lang="en-GB" sz="2000">
                <a:latin typeface="+mn-lt"/>
              </a:rPr>
              <a:t> </a:t>
            </a:r>
            <a:r>
              <a:rPr lang="en-GB" sz="2000" err="1">
                <a:latin typeface="+mn-lt"/>
              </a:rPr>
              <a:t>tulee</a:t>
            </a:r>
            <a:r>
              <a:rPr lang="en-GB" sz="2000">
                <a:latin typeface="+mn-lt"/>
              </a:rPr>
              <a:t> </a:t>
            </a:r>
            <a:r>
              <a:rPr lang="en-GB" sz="2000" err="1">
                <a:latin typeface="+mn-lt"/>
              </a:rPr>
              <a:t>puhelinluettelomainen</a:t>
            </a:r>
            <a:endParaRPr lang="en-GB" sz="2000">
              <a:latin typeface="+mn-lt"/>
            </a:endParaRPr>
          </a:p>
          <a:p>
            <a:pPr marL="971550" lvl="1" indent="-285750">
              <a:buClr>
                <a:schemeClr val="tx1"/>
              </a:buClr>
            </a:pPr>
            <a:r>
              <a:rPr lang="en-GB" sz="1800" err="1">
                <a:latin typeface="+mn-lt"/>
              </a:rPr>
              <a:t>Saako</a:t>
            </a:r>
            <a:r>
              <a:rPr lang="en-GB" sz="1800">
                <a:latin typeface="+mn-lt"/>
              </a:rPr>
              <a:t> </a:t>
            </a:r>
            <a:r>
              <a:rPr lang="en-GB" sz="1800" err="1">
                <a:latin typeface="+mn-lt"/>
              </a:rPr>
              <a:t>tarvittavan</a:t>
            </a:r>
            <a:r>
              <a:rPr lang="en-GB" sz="1800">
                <a:latin typeface="+mn-lt"/>
              </a:rPr>
              <a:t> </a:t>
            </a:r>
            <a:r>
              <a:rPr lang="en-GB" sz="1800" err="1">
                <a:latin typeface="+mn-lt"/>
              </a:rPr>
              <a:t>tiedon</a:t>
            </a:r>
            <a:r>
              <a:rPr lang="en-GB" sz="1800">
                <a:latin typeface="+mn-lt"/>
              </a:rPr>
              <a:t> </a:t>
            </a:r>
            <a:r>
              <a:rPr lang="en-GB" sz="1800" err="1">
                <a:latin typeface="+mn-lt"/>
              </a:rPr>
              <a:t>kasattua</a:t>
            </a:r>
            <a:r>
              <a:rPr lang="en-GB" sz="1800">
                <a:latin typeface="+mn-lt"/>
              </a:rPr>
              <a:t> </a:t>
            </a:r>
            <a:r>
              <a:rPr lang="en-GB" sz="1800" err="1">
                <a:latin typeface="+mn-lt"/>
              </a:rPr>
              <a:t>oppaaseen</a:t>
            </a:r>
            <a:r>
              <a:rPr lang="en-GB" sz="1800">
                <a:latin typeface="+mn-lt"/>
              </a:rPr>
              <a:t>?</a:t>
            </a:r>
          </a:p>
          <a:p>
            <a:pPr marL="971550" lvl="1" indent="-285750">
              <a:buClr>
                <a:schemeClr val="tx1"/>
              </a:buClr>
            </a:pPr>
            <a:r>
              <a:rPr lang="en-GB" sz="1800" err="1">
                <a:latin typeface="+mn-lt"/>
              </a:rPr>
              <a:t>Kolikon</a:t>
            </a:r>
            <a:r>
              <a:rPr lang="en-GB" sz="1800">
                <a:latin typeface="+mn-lt"/>
              </a:rPr>
              <a:t> </a:t>
            </a:r>
            <a:r>
              <a:rPr lang="en-GB" sz="1800" err="1">
                <a:latin typeface="+mn-lt"/>
              </a:rPr>
              <a:t>kääntöpuolena</a:t>
            </a:r>
            <a:r>
              <a:rPr lang="en-GB" sz="1800">
                <a:latin typeface="+mn-lt"/>
              </a:rPr>
              <a:t>: </a:t>
            </a:r>
            <a:r>
              <a:rPr lang="en-GB" sz="1800" err="1">
                <a:latin typeface="+mn-lt"/>
              </a:rPr>
              <a:t>ei</a:t>
            </a:r>
            <a:r>
              <a:rPr lang="en-GB" sz="1800">
                <a:latin typeface="+mn-lt"/>
              </a:rPr>
              <a:t> </a:t>
            </a:r>
            <a:r>
              <a:rPr lang="en-GB" sz="1800" err="1">
                <a:latin typeface="+mn-lt"/>
              </a:rPr>
              <a:t>myöskään</a:t>
            </a:r>
            <a:r>
              <a:rPr lang="en-GB" sz="1800">
                <a:latin typeface="+mn-lt"/>
              </a:rPr>
              <a:t> </a:t>
            </a:r>
            <a:r>
              <a:rPr lang="en-GB" sz="1800" err="1">
                <a:latin typeface="+mn-lt"/>
              </a:rPr>
              <a:t>haluta</a:t>
            </a:r>
            <a:r>
              <a:rPr lang="en-GB" sz="1800">
                <a:latin typeface="+mn-lt"/>
              </a:rPr>
              <a:t>, </a:t>
            </a:r>
            <a:r>
              <a:rPr lang="en-GB" sz="1800" err="1">
                <a:latin typeface="+mn-lt"/>
              </a:rPr>
              <a:t>että</a:t>
            </a:r>
            <a:r>
              <a:rPr lang="en-GB" sz="1800">
                <a:latin typeface="+mn-lt"/>
              </a:rPr>
              <a:t> </a:t>
            </a:r>
            <a:r>
              <a:rPr lang="en-GB" sz="1800" err="1">
                <a:latin typeface="+mn-lt"/>
              </a:rPr>
              <a:t>opas</a:t>
            </a:r>
            <a:r>
              <a:rPr lang="en-GB" sz="1800">
                <a:latin typeface="+mn-lt"/>
              </a:rPr>
              <a:t> </a:t>
            </a:r>
            <a:r>
              <a:rPr lang="en-GB" sz="1800" err="1">
                <a:latin typeface="+mn-lt"/>
              </a:rPr>
              <a:t>ohjaa</a:t>
            </a:r>
            <a:r>
              <a:rPr lang="en-GB" sz="1800">
                <a:latin typeface="+mn-lt"/>
              </a:rPr>
              <a:t> </a:t>
            </a:r>
            <a:r>
              <a:rPr lang="en-GB" sz="1800" err="1">
                <a:latin typeface="+mn-lt"/>
              </a:rPr>
              <a:t>soittelemaan</a:t>
            </a:r>
            <a:r>
              <a:rPr lang="en-GB" sz="1800">
                <a:latin typeface="+mn-lt"/>
              </a:rPr>
              <a:t> </a:t>
            </a:r>
            <a:r>
              <a:rPr lang="en-GB" sz="1800" err="1">
                <a:latin typeface="+mn-lt"/>
              </a:rPr>
              <a:t>useaan</a:t>
            </a:r>
            <a:r>
              <a:rPr lang="en-GB" sz="1800">
                <a:latin typeface="+mn-lt"/>
              </a:rPr>
              <a:t> </a:t>
            </a:r>
            <a:r>
              <a:rPr lang="en-GB" sz="1800" err="1">
                <a:latin typeface="+mn-lt"/>
              </a:rPr>
              <a:t>paikkaan</a:t>
            </a:r>
            <a:r>
              <a:rPr lang="en-GB" sz="1800">
                <a:latin typeface="+mn-lt"/>
              </a:rPr>
              <a:t>, </a:t>
            </a:r>
            <a:r>
              <a:rPr lang="en-GB" sz="1800" err="1">
                <a:latin typeface="+mn-lt"/>
              </a:rPr>
              <a:t>ohjaa</a:t>
            </a:r>
            <a:r>
              <a:rPr lang="en-GB" sz="1800">
                <a:latin typeface="+mn-lt"/>
              </a:rPr>
              <a:t> </a:t>
            </a:r>
            <a:r>
              <a:rPr lang="en-GB" sz="1800" err="1">
                <a:latin typeface="+mn-lt"/>
              </a:rPr>
              <a:t>tietoviidakkoon</a:t>
            </a:r>
            <a:endParaRPr lang="en-GB" sz="1800">
              <a:latin typeface="+mn-lt"/>
            </a:endParaRP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2000" err="1">
                <a:latin typeface="+mn-lt"/>
              </a:rPr>
              <a:t>Saatavuus</a:t>
            </a:r>
            <a:endParaRPr lang="en-GB" sz="2000">
              <a:latin typeface="+mn-lt"/>
            </a:endParaRP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2000" err="1">
                <a:latin typeface="+mn-lt"/>
              </a:rPr>
              <a:t>Oppaan</a:t>
            </a:r>
            <a:r>
              <a:rPr lang="en-GB" sz="2000">
                <a:latin typeface="+mn-lt"/>
              </a:rPr>
              <a:t> </a:t>
            </a:r>
            <a:r>
              <a:rPr lang="en-GB" sz="2000" err="1">
                <a:latin typeface="+mn-lt"/>
              </a:rPr>
              <a:t>tieto</a:t>
            </a:r>
            <a:r>
              <a:rPr lang="en-GB" sz="2000">
                <a:latin typeface="+mn-lt"/>
              </a:rPr>
              <a:t> </a:t>
            </a:r>
            <a:r>
              <a:rPr lang="en-GB" sz="2000" err="1">
                <a:latin typeface="+mn-lt"/>
              </a:rPr>
              <a:t>ei</a:t>
            </a:r>
            <a:r>
              <a:rPr lang="en-GB" sz="2000">
                <a:latin typeface="+mn-lt"/>
              </a:rPr>
              <a:t> ole </a:t>
            </a:r>
            <a:r>
              <a:rPr lang="en-GB" sz="2000" err="1">
                <a:latin typeface="+mn-lt"/>
              </a:rPr>
              <a:t>ajantasaista</a:t>
            </a:r>
            <a:r>
              <a:rPr lang="en-GB" sz="2000">
                <a:latin typeface="+mn-lt"/>
              </a:rPr>
              <a:t> / </a:t>
            </a:r>
            <a:r>
              <a:rPr lang="en-GB" sz="2000" err="1">
                <a:latin typeface="+mn-lt"/>
              </a:rPr>
              <a:t>paikkansa</a:t>
            </a:r>
            <a:r>
              <a:rPr lang="en-GB" sz="2000">
                <a:latin typeface="+mn-lt"/>
              </a:rPr>
              <a:t> </a:t>
            </a:r>
            <a:r>
              <a:rPr lang="en-GB" sz="2000" err="1">
                <a:latin typeface="+mn-lt"/>
              </a:rPr>
              <a:t>pitävää</a:t>
            </a:r>
            <a:endParaRPr lang="en-GB" sz="2000">
              <a:latin typeface="+mn-lt"/>
            </a:endParaRP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2000" err="1">
                <a:latin typeface="+mn-lt"/>
              </a:rPr>
              <a:t>Asiasisällöt</a:t>
            </a:r>
            <a:r>
              <a:rPr lang="en-GB" sz="2000">
                <a:latin typeface="+mn-lt"/>
              </a:rPr>
              <a:t> / </a:t>
            </a:r>
            <a:r>
              <a:rPr lang="en-GB" sz="2000" err="1">
                <a:latin typeface="+mn-lt"/>
              </a:rPr>
              <a:t>kuvaukset</a:t>
            </a:r>
            <a:r>
              <a:rPr lang="en-GB" sz="2000">
                <a:latin typeface="+mn-lt"/>
              </a:rPr>
              <a:t> </a:t>
            </a:r>
            <a:r>
              <a:rPr lang="en-GB" sz="2000" err="1">
                <a:latin typeface="+mn-lt"/>
              </a:rPr>
              <a:t>vaillinaisia</a:t>
            </a:r>
            <a:endParaRPr lang="en-GB" sz="2000">
              <a:latin typeface="+mn-lt"/>
            </a:endParaRP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2000">
              <a:latin typeface="+mn-lt"/>
            </a:endParaRPr>
          </a:p>
        </p:txBody>
      </p:sp>
      <p:pic>
        <p:nvPicPr>
          <p:cNvPr id="12" name="Picture 11" descr="A white box with a yellow cross on it&#10;&#10;Description automatically generated with medium confidence">
            <a:extLst>
              <a:ext uri="{FF2B5EF4-FFF2-40B4-BE49-F238E27FC236}">
                <a16:creationId xmlns:a16="http://schemas.microsoft.com/office/drawing/2014/main" id="{C6A4B7BC-E2B2-20C4-0A84-329BD2CC06C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081" y="2095665"/>
            <a:ext cx="3906981" cy="3906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04459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FC9FC8-CC7D-CA71-FDB8-1BD5D77F6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z="4000">
                <a:solidFill>
                  <a:schemeClr val="bg2"/>
                </a:solidFill>
              </a:rPr>
              <a:t>Oppaan suunnittelu:</a:t>
            </a:r>
            <a:br>
              <a:rPr lang="fi-FI" sz="4000">
                <a:solidFill>
                  <a:schemeClr val="tx1"/>
                </a:solidFill>
              </a:rPr>
            </a:br>
            <a:r>
              <a:rPr lang="fi-FI" sz="4000"/>
              <a:t>tyyli ja tunnelm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7C2413-8798-7183-B215-574D6A45E5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46219" y="3797237"/>
            <a:ext cx="7352494" cy="2160000"/>
          </a:xfrm>
        </p:spPr>
        <p:txBody>
          <a:bodyPr/>
          <a:lstStyle/>
          <a:p>
            <a:pPr marL="0" indent="0">
              <a:buNone/>
            </a:pPr>
            <a:r>
              <a:rPr lang="fi-FI" sz="1800"/>
              <a:t>Työpajoissa määriteltiin ikäihmisten kanssa, millainen oppaan välittämä tunnelma olisi hyvä olla. Tyyliä pyritään välittämään sekä visuaalisilla ratkaisuilla, että tekstin sävyssä.</a:t>
            </a:r>
          </a:p>
          <a:p>
            <a:pPr marL="0" indent="0">
              <a:buNone/>
            </a:pPr>
            <a:endParaRPr lang="fi-FI" sz="180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E454BC-641B-7E8B-A112-F4B1D6547E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1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841172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660167-AFAB-D88A-941E-0B92309152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illainen oppaan tunnelma ja tyyli on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3EB824-7155-7376-B211-FEA6F1FBE3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z="1000">
                <a:solidFill>
                  <a:schemeClr val="tx1"/>
                </a:solidFill>
              </a:rPr>
              <a:t>Oppaan suunnittelu</a:t>
            </a:r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2296F-9257-E03C-C8D2-96E2BCDEAF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15</a:t>
            </a:fld>
            <a:endParaRPr lang="fi-FI"/>
          </a:p>
        </p:txBody>
      </p:sp>
      <p:sp>
        <p:nvSpPr>
          <p:cNvPr id="8" name="Pyöristetty suorakulmio 11">
            <a:extLst>
              <a:ext uri="{FF2B5EF4-FFF2-40B4-BE49-F238E27FC236}">
                <a16:creationId xmlns:a16="http://schemas.microsoft.com/office/drawing/2014/main" id="{7BBCC583-FA82-AE2A-76AB-71FBF1AC71C2}"/>
              </a:ext>
            </a:extLst>
          </p:cNvPr>
          <p:cNvSpPr/>
          <p:nvPr/>
        </p:nvSpPr>
        <p:spPr>
          <a:xfrm>
            <a:off x="4463984" y="2260663"/>
            <a:ext cx="3264031" cy="471340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Mihin sijoitumme</a:t>
            </a:r>
          </a:p>
        </p:txBody>
      </p:sp>
      <p:sp>
        <p:nvSpPr>
          <p:cNvPr id="9" name="Kolmio 12">
            <a:extLst>
              <a:ext uri="{FF2B5EF4-FFF2-40B4-BE49-F238E27FC236}">
                <a16:creationId xmlns:a16="http://schemas.microsoft.com/office/drawing/2014/main" id="{6740D856-AA9B-2222-5483-942F0BD8A6B6}"/>
              </a:ext>
            </a:extLst>
          </p:cNvPr>
          <p:cNvSpPr/>
          <p:nvPr/>
        </p:nvSpPr>
        <p:spPr>
          <a:xfrm rot="5400000">
            <a:off x="7376867" y="2402065"/>
            <a:ext cx="218702" cy="188536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10" name="Kolmio 13">
            <a:extLst>
              <a:ext uri="{FF2B5EF4-FFF2-40B4-BE49-F238E27FC236}">
                <a16:creationId xmlns:a16="http://schemas.microsoft.com/office/drawing/2014/main" id="{6198FDD7-A1E3-5EAF-D8B2-7786904E10AA}"/>
              </a:ext>
            </a:extLst>
          </p:cNvPr>
          <p:cNvSpPr/>
          <p:nvPr/>
        </p:nvSpPr>
        <p:spPr>
          <a:xfrm rot="16200000">
            <a:off x="4596116" y="2402065"/>
            <a:ext cx="218702" cy="188536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11" name="Pyöristetty suorakulmio 7">
            <a:extLst>
              <a:ext uri="{FF2B5EF4-FFF2-40B4-BE49-F238E27FC236}">
                <a16:creationId xmlns:a16="http://schemas.microsoft.com/office/drawing/2014/main" id="{EC984A34-2434-2383-79D4-37FF8394DB7B}"/>
              </a:ext>
            </a:extLst>
          </p:cNvPr>
          <p:cNvSpPr/>
          <p:nvPr/>
        </p:nvSpPr>
        <p:spPr>
          <a:xfrm>
            <a:off x="897909" y="3810391"/>
            <a:ext cx="1969101" cy="47134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Ystävällinen</a:t>
            </a:r>
          </a:p>
        </p:txBody>
      </p:sp>
      <p:sp>
        <p:nvSpPr>
          <p:cNvPr id="12" name="Pyöristetty suorakulmio 8">
            <a:extLst>
              <a:ext uri="{FF2B5EF4-FFF2-40B4-BE49-F238E27FC236}">
                <a16:creationId xmlns:a16="http://schemas.microsoft.com/office/drawing/2014/main" id="{F3D34A79-8E88-F372-7DD3-9D2ACF8CF12F}"/>
              </a:ext>
            </a:extLst>
          </p:cNvPr>
          <p:cNvSpPr/>
          <p:nvPr/>
        </p:nvSpPr>
        <p:spPr>
          <a:xfrm>
            <a:off x="9570599" y="3763387"/>
            <a:ext cx="1969101" cy="47134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Auktoriteetti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609313F-FCDB-D814-892F-109D7326B446}"/>
              </a:ext>
            </a:extLst>
          </p:cNvPr>
          <p:cNvCxnSpPr>
            <a:cxnSpLocks/>
          </p:cNvCxnSpPr>
          <p:nvPr/>
        </p:nvCxnSpPr>
        <p:spPr>
          <a:xfrm flipV="1">
            <a:off x="3725481" y="3996212"/>
            <a:ext cx="4741035" cy="16700"/>
          </a:xfrm>
          <a:prstGeom prst="line">
            <a:avLst/>
          </a:prstGeom>
          <a:ln w="22225">
            <a:headEnd type="oval"/>
            <a:tailEnd type="oval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Heart 13">
            <a:extLst>
              <a:ext uri="{FF2B5EF4-FFF2-40B4-BE49-F238E27FC236}">
                <a16:creationId xmlns:a16="http://schemas.microsoft.com/office/drawing/2014/main" id="{7562B344-013A-47E1-CD27-42A9A351A14D}"/>
              </a:ext>
            </a:extLst>
          </p:cNvPr>
          <p:cNvSpPr/>
          <p:nvPr/>
        </p:nvSpPr>
        <p:spPr>
          <a:xfrm>
            <a:off x="3954662" y="3539012"/>
            <a:ext cx="1018644" cy="914400"/>
          </a:xfrm>
          <a:prstGeom prst="hear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722302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660167-AFAB-D88A-941E-0B92309152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illainen oppaan tunnelma ja tyyli on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3EB824-7155-7376-B211-FEA6F1FBE3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z="1000">
                <a:solidFill>
                  <a:schemeClr val="tx1"/>
                </a:solidFill>
              </a:rPr>
              <a:t>Oppaan suunnittelu</a:t>
            </a:r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2296F-9257-E03C-C8D2-96E2BCDEAF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16</a:t>
            </a:fld>
            <a:endParaRPr lang="fi-FI"/>
          </a:p>
        </p:txBody>
      </p:sp>
      <p:sp>
        <p:nvSpPr>
          <p:cNvPr id="30" name="Pyöristetty suorakulmio 11">
            <a:extLst>
              <a:ext uri="{FF2B5EF4-FFF2-40B4-BE49-F238E27FC236}">
                <a16:creationId xmlns:a16="http://schemas.microsoft.com/office/drawing/2014/main" id="{E9693041-55E2-E69C-6F7D-FE2E8A8E3C98}"/>
              </a:ext>
            </a:extLst>
          </p:cNvPr>
          <p:cNvSpPr/>
          <p:nvPr/>
        </p:nvSpPr>
        <p:spPr>
          <a:xfrm>
            <a:off x="4463984" y="2260663"/>
            <a:ext cx="3264031" cy="471340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Mihin sijoitumme</a:t>
            </a:r>
          </a:p>
        </p:txBody>
      </p:sp>
      <p:sp>
        <p:nvSpPr>
          <p:cNvPr id="31" name="Kolmio 12">
            <a:extLst>
              <a:ext uri="{FF2B5EF4-FFF2-40B4-BE49-F238E27FC236}">
                <a16:creationId xmlns:a16="http://schemas.microsoft.com/office/drawing/2014/main" id="{C4836F67-DD5A-5FE6-B9A5-D2BFA64E20E2}"/>
              </a:ext>
            </a:extLst>
          </p:cNvPr>
          <p:cNvSpPr/>
          <p:nvPr/>
        </p:nvSpPr>
        <p:spPr>
          <a:xfrm rot="5400000">
            <a:off x="7376867" y="2402065"/>
            <a:ext cx="218702" cy="188536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32" name="Kolmio 13">
            <a:extLst>
              <a:ext uri="{FF2B5EF4-FFF2-40B4-BE49-F238E27FC236}">
                <a16:creationId xmlns:a16="http://schemas.microsoft.com/office/drawing/2014/main" id="{180753D4-907B-9408-98E5-1214C4E21265}"/>
              </a:ext>
            </a:extLst>
          </p:cNvPr>
          <p:cNvSpPr/>
          <p:nvPr/>
        </p:nvSpPr>
        <p:spPr>
          <a:xfrm rot="16200000">
            <a:off x="4596116" y="2402065"/>
            <a:ext cx="218702" cy="188536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33" name="Pyöristetty suorakulmio 7">
            <a:extLst>
              <a:ext uri="{FF2B5EF4-FFF2-40B4-BE49-F238E27FC236}">
                <a16:creationId xmlns:a16="http://schemas.microsoft.com/office/drawing/2014/main" id="{361BBDB4-22F6-9D1A-385A-636CF009B003}"/>
              </a:ext>
            </a:extLst>
          </p:cNvPr>
          <p:cNvSpPr/>
          <p:nvPr/>
        </p:nvSpPr>
        <p:spPr>
          <a:xfrm>
            <a:off x="729820" y="3605236"/>
            <a:ext cx="2516016" cy="781951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Moderni, innovatiivinen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020BF568-A73E-2747-486E-6B578BFC3701}"/>
              </a:ext>
            </a:extLst>
          </p:cNvPr>
          <p:cNvCxnSpPr>
            <a:cxnSpLocks/>
          </p:cNvCxnSpPr>
          <p:nvPr/>
        </p:nvCxnSpPr>
        <p:spPr>
          <a:xfrm flipV="1">
            <a:off x="3725481" y="3996212"/>
            <a:ext cx="4741035" cy="16700"/>
          </a:xfrm>
          <a:prstGeom prst="line">
            <a:avLst/>
          </a:prstGeom>
          <a:ln w="22225">
            <a:headEnd type="oval"/>
            <a:tailEnd type="oval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Heart 34">
            <a:extLst>
              <a:ext uri="{FF2B5EF4-FFF2-40B4-BE49-F238E27FC236}">
                <a16:creationId xmlns:a16="http://schemas.microsoft.com/office/drawing/2014/main" id="{7F4071D8-1F5B-91B8-1863-791870547788}"/>
              </a:ext>
            </a:extLst>
          </p:cNvPr>
          <p:cNvSpPr/>
          <p:nvPr/>
        </p:nvSpPr>
        <p:spPr>
          <a:xfrm>
            <a:off x="4293992" y="3820912"/>
            <a:ext cx="414489" cy="372072"/>
          </a:xfrm>
          <a:prstGeom prst="hear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6" name="Pyöristetty suorakulmio 7">
            <a:extLst>
              <a:ext uri="{FF2B5EF4-FFF2-40B4-BE49-F238E27FC236}">
                <a16:creationId xmlns:a16="http://schemas.microsoft.com/office/drawing/2014/main" id="{EC3D78CA-EE61-F74B-5F8C-1B80CFA9B0B1}"/>
              </a:ext>
            </a:extLst>
          </p:cNvPr>
          <p:cNvSpPr/>
          <p:nvPr/>
        </p:nvSpPr>
        <p:spPr>
          <a:xfrm>
            <a:off x="9212083" y="3605236"/>
            <a:ext cx="2516016" cy="781951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Perinteinen, klassinen</a:t>
            </a:r>
          </a:p>
        </p:txBody>
      </p:sp>
      <p:sp>
        <p:nvSpPr>
          <p:cNvPr id="37" name="Heart 36">
            <a:extLst>
              <a:ext uri="{FF2B5EF4-FFF2-40B4-BE49-F238E27FC236}">
                <a16:creationId xmlns:a16="http://schemas.microsoft.com/office/drawing/2014/main" id="{A5CB2091-255D-37F4-54CF-183E03E30C2A}"/>
              </a:ext>
            </a:extLst>
          </p:cNvPr>
          <p:cNvSpPr/>
          <p:nvPr/>
        </p:nvSpPr>
        <p:spPr>
          <a:xfrm>
            <a:off x="4811349" y="3820912"/>
            <a:ext cx="414489" cy="372072"/>
          </a:xfrm>
          <a:prstGeom prst="hear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8" name="Heart 37">
            <a:extLst>
              <a:ext uri="{FF2B5EF4-FFF2-40B4-BE49-F238E27FC236}">
                <a16:creationId xmlns:a16="http://schemas.microsoft.com/office/drawing/2014/main" id="{0289A47F-9EBE-2D13-CCA6-3C9CA302D9EF}"/>
              </a:ext>
            </a:extLst>
          </p:cNvPr>
          <p:cNvSpPr/>
          <p:nvPr/>
        </p:nvSpPr>
        <p:spPr>
          <a:xfrm>
            <a:off x="6087938" y="3677404"/>
            <a:ext cx="638956" cy="573568"/>
          </a:xfrm>
          <a:prstGeom prst="hear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9" name="Heart 38">
            <a:extLst>
              <a:ext uri="{FF2B5EF4-FFF2-40B4-BE49-F238E27FC236}">
                <a16:creationId xmlns:a16="http://schemas.microsoft.com/office/drawing/2014/main" id="{0703E52D-40B5-4620-BD0F-4C95628F2FEC}"/>
              </a:ext>
            </a:extLst>
          </p:cNvPr>
          <p:cNvSpPr/>
          <p:nvPr/>
        </p:nvSpPr>
        <p:spPr>
          <a:xfrm>
            <a:off x="7590644" y="3820912"/>
            <a:ext cx="414489" cy="372072"/>
          </a:xfrm>
          <a:prstGeom prst="hear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0" name="Heart 39">
            <a:extLst>
              <a:ext uri="{FF2B5EF4-FFF2-40B4-BE49-F238E27FC236}">
                <a16:creationId xmlns:a16="http://schemas.microsoft.com/office/drawing/2014/main" id="{1BFA9D73-EB5E-6A2D-F773-577040043FB2}"/>
              </a:ext>
            </a:extLst>
          </p:cNvPr>
          <p:cNvSpPr/>
          <p:nvPr/>
        </p:nvSpPr>
        <p:spPr>
          <a:xfrm>
            <a:off x="5388865" y="3820912"/>
            <a:ext cx="414489" cy="372072"/>
          </a:xfrm>
          <a:prstGeom prst="hear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1" name="Otsikko 2">
            <a:extLst>
              <a:ext uri="{FF2B5EF4-FFF2-40B4-BE49-F238E27FC236}">
                <a16:creationId xmlns:a16="http://schemas.microsoft.com/office/drawing/2014/main" id="{27EFE9C3-9448-6EE7-B726-B3BDF0F3CDD6}"/>
              </a:ext>
            </a:extLst>
          </p:cNvPr>
          <p:cNvSpPr txBox="1">
            <a:spLocks/>
          </p:cNvSpPr>
          <p:nvPr/>
        </p:nvSpPr>
        <p:spPr>
          <a:xfrm>
            <a:off x="4105023" y="4368284"/>
            <a:ext cx="3900110" cy="1886571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0175BF"/>
                </a:solidFill>
                <a:latin typeface="Helvetica" pitchFamily="2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fi-FI" sz="2000" b="0">
                <a:solidFill>
                  <a:schemeClr val="tx1"/>
                </a:solidFill>
                <a:latin typeface="+mn-lt"/>
              </a:rPr>
              <a:t>“Siinä on paljon asiaa, mutta olisi hyvä miettiä innovatiivisuuden kautta, herättää uteliaisuutta ja kysymyksiä”</a:t>
            </a:r>
            <a:endParaRPr lang="fi-FI" sz="2000" b="0">
              <a:solidFill>
                <a:schemeClr val="tx1"/>
              </a:solidFill>
              <a:latin typeface="+mn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3891671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660167-AFAB-D88A-941E-0B92309152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illainen oppaan tunnelma ja tyyli on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3EB824-7155-7376-B211-FEA6F1FBE3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z="1000">
                <a:solidFill>
                  <a:schemeClr val="tx1"/>
                </a:solidFill>
              </a:rPr>
              <a:t>Oppaan suunnittelu</a:t>
            </a:r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2296F-9257-E03C-C8D2-96E2BCDEAF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17</a:t>
            </a:fld>
            <a:endParaRPr lang="fi-FI"/>
          </a:p>
        </p:txBody>
      </p:sp>
      <p:sp>
        <p:nvSpPr>
          <p:cNvPr id="7" name="Pyöristetty suorakulmio 11">
            <a:extLst>
              <a:ext uri="{FF2B5EF4-FFF2-40B4-BE49-F238E27FC236}">
                <a16:creationId xmlns:a16="http://schemas.microsoft.com/office/drawing/2014/main" id="{AD0DD109-041A-B489-A7D0-EBC05AE53409}"/>
              </a:ext>
            </a:extLst>
          </p:cNvPr>
          <p:cNvSpPr/>
          <p:nvPr/>
        </p:nvSpPr>
        <p:spPr>
          <a:xfrm>
            <a:off x="4463984" y="2260663"/>
            <a:ext cx="3264031" cy="471340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hin sijoitumme</a:t>
            </a:r>
          </a:p>
        </p:txBody>
      </p:sp>
      <p:sp>
        <p:nvSpPr>
          <p:cNvPr id="8" name="Kolmio 12">
            <a:extLst>
              <a:ext uri="{FF2B5EF4-FFF2-40B4-BE49-F238E27FC236}">
                <a16:creationId xmlns:a16="http://schemas.microsoft.com/office/drawing/2014/main" id="{862EBC91-2F4C-E726-2D02-214BA27608E6}"/>
              </a:ext>
            </a:extLst>
          </p:cNvPr>
          <p:cNvSpPr/>
          <p:nvPr/>
        </p:nvSpPr>
        <p:spPr>
          <a:xfrm rot="5400000">
            <a:off x="7376867" y="2402065"/>
            <a:ext cx="218702" cy="188536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9" name="Kolmio 13">
            <a:extLst>
              <a:ext uri="{FF2B5EF4-FFF2-40B4-BE49-F238E27FC236}">
                <a16:creationId xmlns:a16="http://schemas.microsoft.com/office/drawing/2014/main" id="{42CB65B9-3D40-3172-8CC0-85E97F4482AB}"/>
              </a:ext>
            </a:extLst>
          </p:cNvPr>
          <p:cNvSpPr/>
          <p:nvPr/>
        </p:nvSpPr>
        <p:spPr>
          <a:xfrm rot="16200000">
            <a:off x="4596116" y="2402065"/>
            <a:ext cx="218702" cy="188536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10" name="Pyöristetty suorakulmio 7">
            <a:extLst>
              <a:ext uri="{FF2B5EF4-FFF2-40B4-BE49-F238E27FC236}">
                <a16:creationId xmlns:a16="http://schemas.microsoft.com/office/drawing/2014/main" id="{F25F496E-B3FF-AF90-DAF7-157F02CDDD57}"/>
              </a:ext>
            </a:extLst>
          </p:cNvPr>
          <p:cNvSpPr/>
          <p:nvPr/>
        </p:nvSpPr>
        <p:spPr>
          <a:xfrm>
            <a:off x="897909" y="3780325"/>
            <a:ext cx="1969101" cy="47134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ikkisä</a:t>
            </a:r>
            <a:endParaRPr kumimoji="0" lang="fi-FI" sz="18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Pyöristetty suorakulmio 8">
            <a:extLst>
              <a:ext uri="{FF2B5EF4-FFF2-40B4-BE49-F238E27FC236}">
                <a16:creationId xmlns:a16="http://schemas.microsoft.com/office/drawing/2014/main" id="{964AE1AC-1E23-B338-C05C-F466745DCE8A}"/>
              </a:ext>
            </a:extLst>
          </p:cNvPr>
          <p:cNvSpPr/>
          <p:nvPr/>
        </p:nvSpPr>
        <p:spPr>
          <a:xfrm>
            <a:off x="9570599" y="3733321"/>
            <a:ext cx="1969101" cy="47134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akava</a:t>
            </a:r>
            <a:endParaRPr kumimoji="0" lang="fi-FI" sz="18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1D0E5B4-79D6-8DA9-9157-9E95E56B4EBE}"/>
              </a:ext>
            </a:extLst>
          </p:cNvPr>
          <p:cNvCxnSpPr>
            <a:cxnSpLocks/>
          </p:cNvCxnSpPr>
          <p:nvPr/>
        </p:nvCxnSpPr>
        <p:spPr>
          <a:xfrm flipV="1">
            <a:off x="3725481" y="3996212"/>
            <a:ext cx="4741035" cy="16700"/>
          </a:xfrm>
          <a:prstGeom prst="line">
            <a:avLst/>
          </a:prstGeom>
          <a:ln w="22225">
            <a:headEnd type="oval"/>
            <a:tailEnd type="oval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Heart 12">
            <a:extLst>
              <a:ext uri="{FF2B5EF4-FFF2-40B4-BE49-F238E27FC236}">
                <a16:creationId xmlns:a16="http://schemas.microsoft.com/office/drawing/2014/main" id="{07A3592D-4035-CED3-F02A-6E0BE2DA2F45}"/>
              </a:ext>
            </a:extLst>
          </p:cNvPr>
          <p:cNvSpPr/>
          <p:nvPr/>
        </p:nvSpPr>
        <p:spPr>
          <a:xfrm>
            <a:off x="4505055" y="3748389"/>
            <a:ext cx="589359" cy="529046"/>
          </a:xfrm>
          <a:prstGeom prst="hear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Heart 13">
            <a:extLst>
              <a:ext uri="{FF2B5EF4-FFF2-40B4-BE49-F238E27FC236}">
                <a16:creationId xmlns:a16="http://schemas.microsoft.com/office/drawing/2014/main" id="{7080A2E6-B8D1-D066-F0B0-780F0FEB2BF8}"/>
              </a:ext>
            </a:extLst>
          </p:cNvPr>
          <p:cNvSpPr/>
          <p:nvPr/>
        </p:nvSpPr>
        <p:spPr>
          <a:xfrm>
            <a:off x="5896426" y="3748389"/>
            <a:ext cx="589359" cy="529046"/>
          </a:xfrm>
          <a:prstGeom prst="hear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5" name="Otsikko 2">
            <a:extLst>
              <a:ext uri="{FF2B5EF4-FFF2-40B4-BE49-F238E27FC236}">
                <a16:creationId xmlns:a16="http://schemas.microsoft.com/office/drawing/2014/main" id="{B712E789-FC63-3114-21F9-D4A2B69DB1C2}"/>
              </a:ext>
            </a:extLst>
          </p:cNvPr>
          <p:cNvSpPr txBox="1">
            <a:spLocks/>
          </p:cNvSpPr>
          <p:nvPr/>
        </p:nvSpPr>
        <p:spPr>
          <a:xfrm>
            <a:off x="3580217" y="4495171"/>
            <a:ext cx="2250499" cy="78195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0175BF"/>
                </a:solidFill>
                <a:latin typeface="Helvetica" pitchFamily="2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fi-FI" sz="1600" b="0">
                <a:solidFill>
                  <a:schemeClr val="tx1"/>
                </a:solidFill>
                <a:latin typeface="+mn-lt"/>
              </a:rPr>
              <a:t>“Sananlaskuja asumisesta”</a:t>
            </a:r>
            <a:endParaRPr lang="fi-FI" sz="1600" b="0">
              <a:solidFill>
                <a:schemeClr val="tx1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16" name="Otsikko 2">
            <a:extLst>
              <a:ext uri="{FF2B5EF4-FFF2-40B4-BE49-F238E27FC236}">
                <a16:creationId xmlns:a16="http://schemas.microsoft.com/office/drawing/2014/main" id="{EE2DA682-FBD3-CFAE-0351-B50B60777779}"/>
              </a:ext>
            </a:extLst>
          </p:cNvPr>
          <p:cNvSpPr txBox="1">
            <a:spLocks/>
          </p:cNvSpPr>
          <p:nvPr/>
        </p:nvSpPr>
        <p:spPr>
          <a:xfrm>
            <a:off x="4594381" y="5141327"/>
            <a:ext cx="2289650" cy="1292312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0175BF"/>
                </a:solidFill>
                <a:latin typeface="Helvetica" pitchFamily="2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fi-FI" sz="1600" b="0">
                <a:solidFill>
                  <a:schemeClr val="tx1"/>
                </a:solidFill>
                <a:latin typeface="+mn-lt"/>
              </a:rPr>
              <a:t>“Asiallista ja selkeää, mutta kevennystä ja huumoria”</a:t>
            </a:r>
            <a:endParaRPr lang="fi-FI" sz="1600" b="0">
              <a:solidFill>
                <a:schemeClr val="tx1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17" name="Otsikko 2">
            <a:extLst>
              <a:ext uri="{FF2B5EF4-FFF2-40B4-BE49-F238E27FC236}">
                <a16:creationId xmlns:a16="http://schemas.microsoft.com/office/drawing/2014/main" id="{9BD0293F-5F4A-C580-E521-AE90987CC610}"/>
              </a:ext>
            </a:extLst>
          </p:cNvPr>
          <p:cNvSpPr txBox="1">
            <a:spLocks/>
          </p:cNvSpPr>
          <p:nvPr/>
        </p:nvSpPr>
        <p:spPr>
          <a:xfrm>
            <a:off x="5664514" y="4277435"/>
            <a:ext cx="2289650" cy="1292312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0175BF"/>
                </a:solidFill>
                <a:latin typeface="Helvetica" pitchFamily="2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fi-FI" sz="1600" b="0">
                <a:solidFill>
                  <a:schemeClr val="tx1"/>
                </a:solidFill>
                <a:latin typeface="+mn-lt"/>
              </a:rPr>
              <a:t>“Voisi olla joku vanhanaikainen sarjakuva”</a:t>
            </a:r>
            <a:endParaRPr lang="fi-FI" sz="1600" b="0">
              <a:solidFill>
                <a:schemeClr val="tx1"/>
              </a:solidFill>
              <a:latin typeface="+mn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5724374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660167-AFAB-D88A-941E-0B92309152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illainen oppaan tunnelma ja tyyli on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3EB824-7155-7376-B211-FEA6F1FBE3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z="1000">
                <a:solidFill>
                  <a:schemeClr val="tx1"/>
                </a:solidFill>
              </a:rPr>
              <a:t>Oppaan suunnittelu</a:t>
            </a:r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42296F-9257-E03C-C8D2-96E2BCDEAF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18</a:t>
            </a:fld>
            <a:endParaRPr lang="fi-FI"/>
          </a:p>
        </p:txBody>
      </p:sp>
      <p:sp>
        <p:nvSpPr>
          <p:cNvPr id="20" name="Pyöristetty suorakulmio 11">
            <a:extLst>
              <a:ext uri="{FF2B5EF4-FFF2-40B4-BE49-F238E27FC236}">
                <a16:creationId xmlns:a16="http://schemas.microsoft.com/office/drawing/2014/main" id="{C4B5C4AC-37E1-345A-DA4D-A6506626A339}"/>
              </a:ext>
            </a:extLst>
          </p:cNvPr>
          <p:cNvSpPr/>
          <p:nvPr/>
        </p:nvSpPr>
        <p:spPr>
          <a:xfrm>
            <a:off x="4463984" y="2260663"/>
            <a:ext cx="3264031" cy="471340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Mihin sijoitumme</a:t>
            </a:r>
          </a:p>
        </p:txBody>
      </p:sp>
      <p:sp>
        <p:nvSpPr>
          <p:cNvPr id="21" name="Kolmio 12">
            <a:extLst>
              <a:ext uri="{FF2B5EF4-FFF2-40B4-BE49-F238E27FC236}">
                <a16:creationId xmlns:a16="http://schemas.microsoft.com/office/drawing/2014/main" id="{CA05B392-B09B-7923-7511-011F06C36B02}"/>
              </a:ext>
            </a:extLst>
          </p:cNvPr>
          <p:cNvSpPr/>
          <p:nvPr/>
        </p:nvSpPr>
        <p:spPr>
          <a:xfrm rot="5400000">
            <a:off x="7376867" y="2402065"/>
            <a:ext cx="218702" cy="188536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22" name="Kolmio 13">
            <a:extLst>
              <a:ext uri="{FF2B5EF4-FFF2-40B4-BE49-F238E27FC236}">
                <a16:creationId xmlns:a16="http://schemas.microsoft.com/office/drawing/2014/main" id="{4AAFF270-606F-D2DC-D888-B4A8C0501660}"/>
              </a:ext>
            </a:extLst>
          </p:cNvPr>
          <p:cNvSpPr/>
          <p:nvPr/>
        </p:nvSpPr>
        <p:spPr>
          <a:xfrm rot="16200000">
            <a:off x="4596116" y="2402065"/>
            <a:ext cx="218702" cy="188536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23" name="Pyöristetty suorakulmio 7">
            <a:extLst>
              <a:ext uri="{FF2B5EF4-FFF2-40B4-BE49-F238E27FC236}">
                <a16:creationId xmlns:a16="http://schemas.microsoft.com/office/drawing/2014/main" id="{AE5928B7-0047-7EE1-F4F0-541D3F6BE9FD}"/>
              </a:ext>
            </a:extLst>
          </p:cNvPr>
          <p:cNvSpPr/>
          <p:nvPr/>
        </p:nvSpPr>
        <p:spPr>
          <a:xfrm>
            <a:off x="897909" y="3784490"/>
            <a:ext cx="1969101" cy="47134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b="1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Värikäs</a:t>
            </a:r>
            <a:endParaRPr kumimoji="0" lang="fi-FI" sz="18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Pyöristetty suorakulmio 8">
            <a:extLst>
              <a:ext uri="{FF2B5EF4-FFF2-40B4-BE49-F238E27FC236}">
                <a16:creationId xmlns:a16="http://schemas.microsoft.com/office/drawing/2014/main" id="{522FCDBB-3EDD-6C07-E444-AA8A922E1F6E}"/>
              </a:ext>
            </a:extLst>
          </p:cNvPr>
          <p:cNvSpPr/>
          <p:nvPr/>
        </p:nvSpPr>
        <p:spPr>
          <a:xfrm>
            <a:off x="9570599" y="3737486"/>
            <a:ext cx="1969101" cy="47134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i-FI" b="1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Neutraali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1B24F0E-3AC9-B142-7A5F-8E5701BE8332}"/>
              </a:ext>
            </a:extLst>
          </p:cNvPr>
          <p:cNvCxnSpPr>
            <a:cxnSpLocks/>
          </p:cNvCxnSpPr>
          <p:nvPr/>
        </p:nvCxnSpPr>
        <p:spPr>
          <a:xfrm flipV="1">
            <a:off x="3725481" y="3996212"/>
            <a:ext cx="4741035" cy="16700"/>
          </a:xfrm>
          <a:prstGeom prst="line">
            <a:avLst/>
          </a:prstGeom>
          <a:ln w="22225">
            <a:headEnd type="oval"/>
            <a:tailEnd type="oval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Heart 25">
            <a:extLst>
              <a:ext uri="{FF2B5EF4-FFF2-40B4-BE49-F238E27FC236}">
                <a16:creationId xmlns:a16="http://schemas.microsoft.com/office/drawing/2014/main" id="{FEC3C528-8EB8-B26A-6716-8704E9EFC48F}"/>
              </a:ext>
            </a:extLst>
          </p:cNvPr>
          <p:cNvSpPr/>
          <p:nvPr/>
        </p:nvSpPr>
        <p:spPr>
          <a:xfrm>
            <a:off x="4530082" y="3834981"/>
            <a:ext cx="396431" cy="355862"/>
          </a:xfrm>
          <a:prstGeom prst="hear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7" name="Heart 26">
            <a:extLst>
              <a:ext uri="{FF2B5EF4-FFF2-40B4-BE49-F238E27FC236}">
                <a16:creationId xmlns:a16="http://schemas.microsoft.com/office/drawing/2014/main" id="{8B97830D-5BDA-5626-DBE1-FCBDA3BA709E}"/>
              </a:ext>
            </a:extLst>
          </p:cNvPr>
          <p:cNvSpPr/>
          <p:nvPr/>
        </p:nvSpPr>
        <p:spPr>
          <a:xfrm>
            <a:off x="5284629" y="3748389"/>
            <a:ext cx="589359" cy="529046"/>
          </a:xfrm>
          <a:prstGeom prst="hear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8" name="Heart 27">
            <a:extLst>
              <a:ext uri="{FF2B5EF4-FFF2-40B4-BE49-F238E27FC236}">
                <a16:creationId xmlns:a16="http://schemas.microsoft.com/office/drawing/2014/main" id="{61003FDB-FE9D-5421-A7D0-A571B0A091A6}"/>
              </a:ext>
            </a:extLst>
          </p:cNvPr>
          <p:cNvSpPr/>
          <p:nvPr/>
        </p:nvSpPr>
        <p:spPr>
          <a:xfrm>
            <a:off x="6226534" y="3834981"/>
            <a:ext cx="396431" cy="355862"/>
          </a:xfrm>
          <a:prstGeom prst="hear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9" name="Otsikko 2">
            <a:extLst>
              <a:ext uri="{FF2B5EF4-FFF2-40B4-BE49-F238E27FC236}">
                <a16:creationId xmlns:a16="http://schemas.microsoft.com/office/drawing/2014/main" id="{F1FFC151-DAC6-5C2C-273B-808DE175FBE2}"/>
              </a:ext>
            </a:extLst>
          </p:cNvPr>
          <p:cNvSpPr txBox="1">
            <a:spLocks/>
          </p:cNvSpPr>
          <p:nvPr/>
        </p:nvSpPr>
        <p:spPr>
          <a:xfrm>
            <a:off x="3971093" y="4174143"/>
            <a:ext cx="3088123" cy="180144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0175BF"/>
                </a:solidFill>
                <a:latin typeface="Helvetica" pitchFamily="2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algn="ctr">
              <a:defRPr/>
            </a:pPr>
            <a:r>
              <a:rPr lang="fi-FI" sz="2000" b="0">
                <a:solidFill>
                  <a:schemeClr val="tx1"/>
                </a:solidFill>
                <a:latin typeface="+mn-lt"/>
              </a:rPr>
              <a:t>“Saa olla värikäs, mutta pitää olla tyylikäs, eri väreillä erottuu eri asiat”</a:t>
            </a:r>
            <a:endParaRPr lang="fi-FI" sz="2000" b="0">
              <a:solidFill>
                <a:schemeClr val="tx1"/>
              </a:solidFill>
              <a:latin typeface="+mn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187817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FC9FC8-CC7D-CA71-FDB8-1BD5D77F6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z="4000">
                <a:solidFill>
                  <a:schemeClr val="bg2"/>
                </a:solidFill>
              </a:rPr>
              <a:t>Oppaan suunnittelu:</a:t>
            </a:r>
            <a:br>
              <a:rPr lang="fi-FI" sz="4000">
                <a:solidFill>
                  <a:schemeClr val="tx1"/>
                </a:solidFill>
              </a:rPr>
            </a:br>
            <a:r>
              <a:rPr lang="fi-FI" sz="4000"/>
              <a:t>formaatt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7C2413-8798-7183-B215-574D6A45E5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46219" y="3797237"/>
            <a:ext cx="7352494" cy="2160000"/>
          </a:xfrm>
        </p:spPr>
        <p:txBody>
          <a:bodyPr/>
          <a:lstStyle/>
          <a:p>
            <a:pPr rtl="0" fontAlgn="base"/>
            <a:r>
              <a:rPr lang="fi-FI" sz="1800" i="0" u="none" strike="noStrike">
                <a:solidFill>
                  <a:schemeClr val="bg1"/>
                </a:solidFill>
                <a:effectLst/>
                <a:cs typeface="Calibri" panose="020F0502020204030204" pitchFamily="34" charset="0"/>
              </a:rPr>
              <a:t>Oppaasta toteutetaan sekä printti- että nettiversio.</a:t>
            </a:r>
            <a:r>
              <a:rPr lang="en-US" sz="1800" i="0">
                <a:solidFill>
                  <a:schemeClr val="bg1"/>
                </a:solidFill>
                <a:effectLst/>
                <a:cs typeface="Calibri" panose="020F0502020204030204" pitchFamily="34" charset="0"/>
              </a:rPr>
              <a:t>​</a:t>
            </a:r>
            <a:r>
              <a:rPr lang="en-US" sz="1100">
                <a:solidFill>
                  <a:schemeClr val="bg1"/>
                </a:solidFill>
                <a:cs typeface="Calibri" panose="020F0502020204030204" pitchFamily="34" charset="0"/>
              </a:rPr>
              <a:t> </a:t>
            </a:r>
            <a:r>
              <a:rPr lang="fi-FI" sz="1800" i="0" u="none" strike="noStrike">
                <a:solidFill>
                  <a:schemeClr val="bg1"/>
                </a:solidFill>
                <a:effectLst/>
                <a:cs typeface="Calibri" panose="020F0502020204030204" pitchFamily="34" charset="0"/>
              </a:rPr>
              <a:t>Fyysinen printtiversio on keihäänkärki, jota tarvitsevat sekä asiakas että ammattilainen.</a:t>
            </a:r>
            <a:r>
              <a:rPr lang="en-US" sz="1800" i="0">
                <a:solidFill>
                  <a:schemeClr val="bg1"/>
                </a:solidFill>
                <a:effectLst/>
                <a:cs typeface="Calibri" panose="020F0502020204030204" pitchFamily="34" charset="0"/>
              </a:rPr>
              <a:t>​</a:t>
            </a:r>
            <a:endParaRPr lang="en-US" sz="1100" i="0">
              <a:solidFill>
                <a:schemeClr val="bg1"/>
              </a:solidFill>
              <a:effectLst/>
              <a:cs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E454BC-641B-7E8B-A112-F4B1D6547E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19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281101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729CF75-AF83-1F6D-F9F3-E4BDA5A0A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5782" y="545966"/>
            <a:ext cx="5495985" cy="2160000"/>
          </a:xfrm>
        </p:spPr>
        <p:txBody>
          <a:bodyPr anchor="b">
            <a:normAutofit/>
          </a:bodyPr>
          <a:lstStyle/>
          <a:p>
            <a:pPr algn="l"/>
            <a:r>
              <a:rPr lang="fi-FI"/>
              <a:t>Sisältö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344CBAB-77E1-A6D5-3CAB-489149B362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35782" y="2944271"/>
            <a:ext cx="5495985" cy="2160000"/>
          </a:xfrm>
        </p:spPr>
        <p:txBody>
          <a:bodyPr anchor="t">
            <a:normAutofit fontScale="92500" lnSpcReduction="10000"/>
          </a:bodyPr>
          <a:lstStyle/>
          <a:p>
            <a:pPr algn="l">
              <a:lnSpc>
                <a:spcPct val="150000"/>
              </a:lnSpc>
            </a:pPr>
            <a:r>
              <a:rPr lang="fi-FI" sz="2000"/>
              <a:t>J</a:t>
            </a:r>
            <a:r>
              <a:rPr lang="fi-FI" sz="2200"/>
              <a:t>ohdanto</a:t>
            </a:r>
            <a:br>
              <a:rPr lang="fi-FI" sz="2200"/>
            </a:br>
            <a:r>
              <a:rPr lang="fi-FI" sz="2200"/>
              <a:t>Oppaan suunnittelu</a:t>
            </a:r>
            <a:br>
              <a:rPr lang="fi-FI" sz="2200"/>
            </a:br>
            <a:r>
              <a:rPr lang="fi-FI" sz="2200"/>
              <a:t>Oppaan arviointi</a:t>
            </a:r>
            <a:br>
              <a:rPr lang="fi-FI" sz="2200"/>
            </a:br>
            <a:r>
              <a:rPr lang="fi-FI" sz="2200"/>
              <a:t>Työn tulokset</a:t>
            </a:r>
            <a:br>
              <a:rPr lang="fi-FI" sz="2200"/>
            </a:br>
            <a:r>
              <a:rPr lang="fi-FI" sz="2200"/>
              <a:t>Ideat ja huomiot jatkokehitykseen</a:t>
            </a:r>
            <a:endParaRPr lang="fi-FI" sz="2200">
              <a:cs typeface="Arial"/>
            </a:endParaRP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59CFDD53-7579-A914-E655-E32DACEF23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A16AB2-D3A6-775C-AA16-96C9661FF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CCD26548-A701-4132-A0A2-A9B09A70FF4B}" type="slidenum">
              <a:rPr lang="fi-FI" smtClean="0"/>
              <a:pPr>
                <a:spcAft>
                  <a:spcPts val="600"/>
                </a:spcAft>
              </a:pPr>
              <a:t>2</a:t>
            </a:fld>
            <a:endParaRPr lang="fi-FI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815E3F7-D0CA-38CD-448A-A7CD897FE1D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287" y="995796"/>
            <a:ext cx="4838756" cy="4866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7610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D723BF-830F-03BF-0D8B-8784F4C4AB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z="1000">
                <a:solidFill>
                  <a:schemeClr val="tx1"/>
                </a:solidFill>
              </a:rPr>
              <a:t>Oppaan suunnittelu</a:t>
            </a:r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AC0D78-47A3-4A4A-ED1A-F8252F6B9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20</a:t>
            </a:fld>
            <a:endParaRPr lang="fi-FI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9B03D42-9C56-CCCA-79CF-621959907658}"/>
              </a:ext>
            </a:extLst>
          </p:cNvPr>
          <p:cNvSpPr/>
          <p:nvPr/>
        </p:nvSpPr>
        <p:spPr>
          <a:xfrm>
            <a:off x="522192" y="2769099"/>
            <a:ext cx="3255720" cy="28960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5720" rIns="108000" bIns="45720" rtlCol="0" anchor="t"/>
          <a:lstStyle/>
          <a:p>
            <a:pPr>
              <a:spcAft>
                <a:spcPts val="600"/>
              </a:spcAft>
            </a:pPr>
            <a:r>
              <a:rPr lang="fi-FI" sz="2200" b="1">
                <a:solidFill>
                  <a:schemeClr val="tx2"/>
                </a:solidFill>
              </a:rPr>
              <a:t>Printtiopas</a:t>
            </a:r>
            <a:endParaRPr lang="fi-FI" sz="2200">
              <a:solidFill>
                <a:schemeClr val="tx2"/>
              </a:solidFill>
            </a:endParaRPr>
          </a:p>
          <a:p>
            <a:pPr marL="285750" indent="-28575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2"/>
                </a:solidFill>
              </a:rPr>
              <a:t>Postitse jaettava ilmainen painotuote alueen ikäihmisille. </a:t>
            </a:r>
          </a:p>
          <a:p>
            <a:pPr marL="285750" indent="-28575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2"/>
                </a:solidFill>
              </a:rPr>
              <a:t>Jaetaan ilmaiseksi kotiin (+ tieto siitä, mistä löytyy ajantasainen versio)</a:t>
            </a:r>
          </a:p>
          <a:p>
            <a:pPr marL="285750" indent="-28575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2"/>
                </a:solidFill>
              </a:rPr>
              <a:t>Printtiversiossa näkyy selvästi milloin se on tehty, jotta ajantasaisuus välittyy. Mahdollisuus tilata ajantasainen versio kotii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03C450-E453-F999-1F6D-B0BEA527CE62}"/>
              </a:ext>
            </a:extLst>
          </p:cNvPr>
          <p:cNvSpPr/>
          <p:nvPr/>
        </p:nvSpPr>
        <p:spPr>
          <a:xfrm>
            <a:off x="8436773" y="2770724"/>
            <a:ext cx="3728706" cy="28960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5720" rIns="108000" bIns="45720" rtlCol="0" anchor="t"/>
          <a:lstStyle/>
          <a:p>
            <a:pPr>
              <a:spcAft>
                <a:spcPts val="600"/>
              </a:spcAft>
            </a:pPr>
            <a:r>
              <a:rPr lang="fi-FI" sz="2200" b="1">
                <a:solidFill>
                  <a:schemeClr val="tx2"/>
                </a:solidFill>
              </a:rPr>
              <a:t>Muuta</a:t>
            </a:r>
            <a:endParaRPr lang="fi-FI" sz="2200">
              <a:solidFill>
                <a:schemeClr val="tx2"/>
              </a:solidFill>
            </a:endParaRPr>
          </a:p>
          <a:p>
            <a:pPr marL="285750" indent="-28575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2"/>
                </a:solidFill>
              </a:rPr>
              <a:t>Ideana myös äänikirja</a:t>
            </a:r>
          </a:p>
          <a:p>
            <a:pPr marL="285750" indent="-28575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2"/>
                </a:solidFill>
              </a:rPr>
              <a:t>Selkeä sisällysluettelo (digissä linkeillä)</a:t>
            </a:r>
          </a:p>
          <a:p>
            <a:pPr marL="285750" indent="-28575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2"/>
                </a:solidFill>
              </a:rPr>
              <a:t>Selkokieltä</a:t>
            </a:r>
          </a:p>
          <a:p>
            <a:pPr marL="285750" indent="-28575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2"/>
                </a:solidFill>
              </a:rPr>
              <a:t>Iso fontti ja selkeät, tummat otsikot</a:t>
            </a:r>
          </a:p>
          <a:p>
            <a:pPr marL="285750" indent="-28575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2"/>
                </a:solidFill>
              </a:rPr>
              <a:t>Paljon väriä ja kuvia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7FCE63C-896F-0729-88C8-15BF69682A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2398" y="1322900"/>
            <a:ext cx="1062294" cy="1239344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DD1A1DED-2D4B-4EC8-2989-3CABE4EA99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526085" y="1645091"/>
            <a:ext cx="1220367" cy="103546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79BB775-F3AB-9FB4-FEE1-B25870958F8E}"/>
              </a:ext>
            </a:extLst>
          </p:cNvPr>
          <p:cNvSpPr/>
          <p:nvPr/>
        </p:nvSpPr>
        <p:spPr>
          <a:xfrm>
            <a:off x="4472850" y="2769099"/>
            <a:ext cx="3430070" cy="28960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45720" rIns="108000" bIns="45720" rtlCol="0" anchor="t"/>
          <a:lstStyle/>
          <a:p>
            <a:pPr>
              <a:spcAft>
                <a:spcPts val="600"/>
              </a:spcAft>
            </a:pPr>
            <a:r>
              <a:rPr lang="fi-FI" sz="2200" b="1">
                <a:solidFill>
                  <a:schemeClr val="tx2"/>
                </a:solidFill>
              </a:rPr>
              <a:t>Digiopas</a:t>
            </a:r>
            <a:endParaRPr lang="fi-FI" sz="2200">
              <a:solidFill>
                <a:schemeClr val="tx2"/>
              </a:solidFill>
            </a:endParaRPr>
          </a:p>
          <a:p>
            <a:pPr marL="285750" indent="-28575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2"/>
                </a:solidFill>
              </a:rPr>
              <a:t>Sijoitetaan ikäkeskuksen neuvonnan alle, osioon hyödyllisiä linkkejä (</a:t>
            </a:r>
            <a:r>
              <a:rPr lang="fi-FI" sz="1400" err="1">
                <a:solidFill>
                  <a:schemeClr val="tx2"/>
                </a:solidFill>
              </a:rPr>
              <a:t>pshyvinvointialue.fi</a:t>
            </a:r>
            <a:r>
              <a:rPr lang="fi-FI" sz="1400">
                <a:solidFill>
                  <a:schemeClr val="tx2"/>
                </a:solidFill>
              </a:rPr>
              <a:t>/</a:t>
            </a:r>
            <a:r>
              <a:rPr lang="fi-FI" sz="1400" err="1">
                <a:solidFill>
                  <a:schemeClr val="tx2"/>
                </a:solidFill>
              </a:rPr>
              <a:t>ikakeskus</a:t>
            </a:r>
            <a:r>
              <a:rPr lang="fi-FI" sz="1400">
                <a:solidFill>
                  <a:schemeClr val="tx2"/>
                </a:solidFill>
              </a:rPr>
              <a:t>)</a:t>
            </a:r>
          </a:p>
          <a:p>
            <a:pPr marL="285750" indent="-28575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2"/>
                </a:solidFill>
              </a:rPr>
              <a:t>Toteutetaan </a:t>
            </a:r>
            <a:r>
              <a:rPr lang="fi-FI" sz="1400" err="1">
                <a:solidFill>
                  <a:schemeClr val="tx2"/>
                </a:solidFill>
              </a:rPr>
              <a:t>printtiopaan</a:t>
            </a:r>
            <a:r>
              <a:rPr lang="fi-FI" sz="1400">
                <a:solidFill>
                  <a:schemeClr val="tx2"/>
                </a:solidFill>
              </a:rPr>
              <a:t> mukaan. Netistä löytyvästä tulostettavassa versiossa huomioitava myös mahdollisuus tulostaa yksittäisiä osioita.</a:t>
            </a:r>
          </a:p>
          <a:p>
            <a:pPr marL="285750" indent="-285750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400">
                <a:solidFill>
                  <a:schemeClr val="tx2"/>
                </a:solidFill>
              </a:rPr>
              <a:t>Digioppaassa voi olla enemmän linkkejä kuin printtiversiossa 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75ED2DB-460A-3BEB-D0EF-DD679EE775E9}"/>
              </a:ext>
            </a:extLst>
          </p:cNvPr>
          <p:cNvGrpSpPr/>
          <p:nvPr/>
        </p:nvGrpSpPr>
        <p:grpSpPr>
          <a:xfrm>
            <a:off x="6130650" y="1645091"/>
            <a:ext cx="1089718" cy="1335022"/>
            <a:chOff x="409844" y="3086916"/>
            <a:chExt cx="851523" cy="1043207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F8F5A52-BCEA-B38C-AF7C-B2AFEE33B147}"/>
                </a:ext>
              </a:extLst>
            </p:cNvPr>
            <p:cNvSpPr/>
            <p:nvPr/>
          </p:nvSpPr>
          <p:spPr>
            <a:xfrm>
              <a:off x="409844" y="3086916"/>
              <a:ext cx="851523" cy="10432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03CE63B5-55FB-52F1-D191-33E00B79090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47622" y="3107693"/>
              <a:ext cx="640862" cy="915517"/>
            </a:xfrm>
            <a:prstGeom prst="rect">
              <a:avLst/>
            </a:prstGeom>
          </p:spPr>
        </p:pic>
      </p:grpSp>
      <p:pic>
        <p:nvPicPr>
          <p:cNvPr id="15" name="Graphic 14" descr="Warning with solid fill">
            <a:extLst>
              <a:ext uri="{FF2B5EF4-FFF2-40B4-BE49-F238E27FC236}">
                <a16:creationId xmlns:a16="http://schemas.microsoft.com/office/drawing/2014/main" id="{6B5A522A-4CBA-849C-FA39-61D10EA0013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22192" y="5862376"/>
            <a:ext cx="613978" cy="613978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03FF062-2732-8638-0A8F-B3B5BEAD06E3}"/>
              </a:ext>
            </a:extLst>
          </p:cNvPr>
          <p:cNvSpPr txBox="1"/>
          <p:nvPr/>
        </p:nvSpPr>
        <p:spPr>
          <a:xfrm>
            <a:off x="1264423" y="5830023"/>
            <a:ext cx="641099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i-FI" b="1">
                <a:solidFill>
                  <a:schemeClr val="tx2"/>
                </a:solidFill>
                <a:cs typeface="Calibri" panose="020F0502020204030204" pitchFamily="34" charset="0"/>
              </a:rPr>
              <a:t>Molemmat lopputuotokset, sekä printti- että digiopas tulee päivittää erikseen ja säännöllisesti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CD304E1-2097-2629-7993-54635683E0F0}"/>
              </a:ext>
            </a:extLst>
          </p:cNvPr>
          <p:cNvSpPr txBox="1"/>
          <p:nvPr/>
        </p:nvSpPr>
        <p:spPr>
          <a:xfrm>
            <a:off x="6871056" y="584236"/>
            <a:ext cx="343007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chemeClr val="tx1"/>
              </a:buClr>
            </a:pPr>
            <a:r>
              <a:rPr lang="fi-FI" sz="1400">
                <a:solidFill>
                  <a:schemeClr val="tx2"/>
                </a:solidFill>
              </a:rPr>
              <a:t>Digioppaan käyttötapauksena useimmiten ikäihmisillä tietokone ja tabletti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8E2E2490-AC5D-46E8-295F-2267FD4424D9}"/>
              </a:ext>
            </a:extLst>
          </p:cNvPr>
          <p:cNvCxnSpPr>
            <a:cxnSpLocks/>
          </p:cNvCxnSpPr>
          <p:nvPr/>
        </p:nvCxnSpPr>
        <p:spPr>
          <a:xfrm flipH="1">
            <a:off x="6130649" y="792311"/>
            <a:ext cx="549535" cy="74160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0" name="Graphic 19" descr="Laptop outline">
            <a:extLst>
              <a:ext uri="{FF2B5EF4-FFF2-40B4-BE49-F238E27FC236}">
                <a16:creationId xmlns:a16="http://schemas.microsoft.com/office/drawing/2014/main" id="{4AF5CA27-966B-CBB2-C6A8-4E1A8A47435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281055" y="938586"/>
            <a:ext cx="1759086" cy="1759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3597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FC9FC8-CC7D-CA71-FDB8-1BD5D77F6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z="4000">
                <a:solidFill>
                  <a:schemeClr val="bg2"/>
                </a:solidFill>
              </a:rPr>
              <a:t>Oppaan suunnittelu:</a:t>
            </a:r>
            <a:br>
              <a:rPr lang="fi-FI" sz="4000">
                <a:solidFill>
                  <a:schemeClr val="tx1"/>
                </a:solidFill>
              </a:rPr>
            </a:br>
            <a:r>
              <a:rPr lang="fi-FI" sz="4000"/>
              <a:t>markkinoint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7C2413-8798-7183-B215-574D6A45E5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46219" y="3797237"/>
            <a:ext cx="7352494" cy="2160000"/>
          </a:xfrm>
        </p:spPr>
        <p:txBody>
          <a:bodyPr/>
          <a:lstStyle/>
          <a:p>
            <a:pPr rtl="0" fontAlgn="base"/>
            <a:r>
              <a:rPr lang="fi-FI" sz="1800" i="0" u="none" strike="noStrike">
                <a:solidFill>
                  <a:schemeClr val="bg1"/>
                </a:solidFill>
                <a:effectLst/>
                <a:cs typeface="Calibri" panose="020F0502020204030204" pitchFamily="34" charset="0"/>
              </a:rPr>
              <a:t>Oppaasta toteutetaan sekä printti- että nettiversio.</a:t>
            </a:r>
            <a:r>
              <a:rPr lang="en-US" sz="1800" i="0">
                <a:solidFill>
                  <a:schemeClr val="bg1"/>
                </a:solidFill>
                <a:effectLst/>
                <a:cs typeface="Calibri" panose="020F0502020204030204" pitchFamily="34" charset="0"/>
              </a:rPr>
              <a:t>​</a:t>
            </a:r>
            <a:r>
              <a:rPr lang="en-US" sz="1100">
                <a:solidFill>
                  <a:schemeClr val="bg1"/>
                </a:solidFill>
                <a:cs typeface="Calibri" panose="020F0502020204030204" pitchFamily="34" charset="0"/>
              </a:rPr>
              <a:t> </a:t>
            </a:r>
            <a:r>
              <a:rPr lang="fi-FI" sz="1800" i="0" u="none" strike="noStrike">
                <a:solidFill>
                  <a:schemeClr val="bg1"/>
                </a:solidFill>
                <a:effectLst/>
                <a:cs typeface="Calibri" panose="020F0502020204030204" pitchFamily="34" charset="0"/>
              </a:rPr>
              <a:t>Fyysinen printtiversio on keihäänkärki, jota tarvitsevat sekä asiakas että ammattilainen.</a:t>
            </a:r>
            <a:r>
              <a:rPr lang="en-US" sz="1800" i="0">
                <a:solidFill>
                  <a:schemeClr val="bg1"/>
                </a:solidFill>
                <a:effectLst/>
                <a:cs typeface="Calibri" panose="020F0502020204030204" pitchFamily="34" charset="0"/>
              </a:rPr>
              <a:t>​</a:t>
            </a:r>
            <a:endParaRPr lang="en-US" sz="1100" i="0">
              <a:solidFill>
                <a:schemeClr val="bg1"/>
              </a:solidFill>
              <a:effectLst/>
              <a:cs typeface="Calibri" panose="020F050202020403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E454BC-641B-7E8B-A112-F4B1D6547E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2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847281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B53235-0B86-3D16-84C5-FDA5BA7637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Oppaan markkinointi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DC5D06-D09E-1AD7-362A-66510D1495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z="1000">
                <a:solidFill>
                  <a:schemeClr val="tx1"/>
                </a:solidFill>
              </a:rPr>
              <a:t>Oppaan suunnittelu</a:t>
            </a:r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74962B-7CB6-D126-4F9B-1E69E0FE8C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22</a:t>
            </a:fld>
            <a:endParaRPr lang="fi-FI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5D0C910-E64B-253F-960E-1FC4DD078CFF}"/>
              </a:ext>
            </a:extLst>
          </p:cNvPr>
          <p:cNvSpPr/>
          <p:nvPr/>
        </p:nvSpPr>
        <p:spPr>
          <a:xfrm>
            <a:off x="535611" y="4247063"/>
            <a:ext cx="3040018" cy="44185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tIns="45720" rIns="324000" bIns="45720" rtlCol="0" anchor="t"/>
          <a:lstStyle/>
          <a:p>
            <a:pPr algn="ctr">
              <a:spcAft>
                <a:spcPts val="1200"/>
              </a:spcAft>
            </a:pPr>
            <a:r>
              <a:rPr lang="fi-FI" sz="2400" b="1">
                <a:solidFill>
                  <a:schemeClr val="tx2"/>
                </a:solidFill>
                <a:cs typeface="Helvetica"/>
              </a:rPr>
              <a:t>Kenelle?</a:t>
            </a:r>
            <a:endParaRPr lang="fi-FI" sz="2000" b="1">
              <a:solidFill>
                <a:schemeClr val="tx2"/>
              </a:solidFill>
            </a:endParaRPr>
          </a:p>
          <a:p>
            <a:pPr marL="342900" indent="-342900"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500" b="1">
                <a:solidFill>
                  <a:schemeClr val="tx2"/>
                </a:solidFill>
              </a:rPr>
              <a:t>Ikääntyneet (+65v.) </a:t>
            </a:r>
            <a:endParaRPr lang="fi-FI" sz="1500" b="1">
              <a:solidFill>
                <a:schemeClr val="tx2"/>
              </a:solidFill>
              <a:cs typeface="Calibri"/>
            </a:endParaRPr>
          </a:p>
          <a:p>
            <a:pPr marL="342900" indent="-342900"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500">
                <a:solidFill>
                  <a:schemeClr val="tx2"/>
                </a:solidFill>
              </a:rPr>
              <a:t>Omaiset</a:t>
            </a:r>
            <a:endParaRPr lang="fi-FI" sz="1500">
              <a:solidFill>
                <a:schemeClr val="tx2"/>
              </a:solidFill>
              <a:cs typeface="Calibri"/>
            </a:endParaRPr>
          </a:p>
          <a:p>
            <a:pPr marL="342900" indent="-342900"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500">
                <a:solidFill>
                  <a:schemeClr val="tx2"/>
                </a:solidFill>
              </a:rPr>
              <a:t>Kuntalaiset</a:t>
            </a:r>
            <a:endParaRPr lang="fi-FI" sz="1500">
              <a:solidFill>
                <a:schemeClr val="tx2"/>
              </a:solidFill>
              <a:cs typeface="Calibri"/>
            </a:endParaRPr>
          </a:p>
          <a:p>
            <a:pPr marL="342900" indent="-342900"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500">
                <a:solidFill>
                  <a:schemeClr val="tx2"/>
                </a:solidFill>
              </a:rPr>
              <a:t>Työntekijät</a:t>
            </a:r>
            <a:endParaRPr lang="fi-FI" sz="1500">
              <a:solidFill>
                <a:schemeClr val="tx2"/>
              </a:solidFill>
              <a:cs typeface="Calibri"/>
            </a:endParaRPr>
          </a:p>
          <a:p>
            <a:pPr marL="342900" indent="-342900"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500">
                <a:solidFill>
                  <a:schemeClr val="tx2"/>
                </a:solidFill>
              </a:rPr>
              <a:t>Järjestöt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8F0F6D7-34A2-7FCE-C3C9-CE6486AA4FF5}"/>
              </a:ext>
            </a:extLst>
          </p:cNvPr>
          <p:cNvSpPr txBox="1">
            <a:spLocks/>
          </p:cNvSpPr>
          <p:nvPr/>
        </p:nvSpPr>
        <p:spPr>
          <a:xfrm>
            <a:off x="4296711" y="1703255"/>
            <a:ext cx="4002162" cy="515474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</a:pPr>
            <a:r>
              <a:rPr lang="fi-FI" sz="2400" b="1">
                <a:latin typeface="+mn-lt"/>
                <a:cs typeface="Calibri Light"/>
              </a:rPr>
              <a:t>Missä?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600">
                <a:latin typeface="+mn-lt"/>
                <a:cs typeface="Calibri Light"/>
              </a:rPr>
              <a:t>65–70-v. postijakeluna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600">
                <a:latin typeface="+mn-lt"/>
                <a:cs typeface="Calibri Light"/>
              </a:rPr>
              <a:t>Sähköiset kanavat: </a:t>
            </a:r>
            <a:r>
              <a:rPr lang="fi-FI" sz="1600">
                <a:latin typeface="+mn-lt"/>
              </a:rPr>
              <a:t>eläkeläiskerhojen kotisivuilla ja osaksi Siilinjärvi-sovelluksen hyödyllisiä linkkejä</a:t>
            </a:r>
            <a:endParaRPr lang="fi-FI" sz="1600">
              <a:latin typeface="+mn-lt"/>
              <a:cs typeface="Calibri Light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600">
                <a:latin typeface="+mn-lt"/>
                <a:cs typeface="Calibri Light"/>
              </a:rPr>
              <a:t>Alue-tv:n uutisissa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600">
                <a:latin typeface="+mn-lt"/>
                <a:cs typeface="Calibri Light"/>
              </a:rPr>
              <a:t>Paikallislehdet ja -radiot: </a:t>
            </a:r>
            <a:r>
              <a:rPr lang="fi-FI" sz="1600">
                <a:latin typeface="+mn-lt"/>
              </a:rPr>
              <a:t>Savon aallot, Uutis-Jousi Siilinjärvellä, Alue-TV:n uutiset</a:t>
            </a:r>
            <a:endParaRPr lang="fi-FI" sz="1600">
              <a:latin typeface="+mn-lt"/>
              <a:cs typeface="Calibri Light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600">
                <a:latin typeface="+mn-lt"/>
                <a:cs typeface="Calibri Light"/>
              </a:rPr>
              <a:t>Tapahtumat: </a:t>
            </a:r>
            <a:r>
              <a:rPr lang="fi-FI" sz="1600">
                <a:latin typeface="+mn-lt"/>
              </a:rPr>
              <a:t>Rakenna ja Asu -messut, ikäihmisten omat tapahtumat</a:t>
            </a:r>
            <a:endParaRPr lang="fi-FI" sz="1600">
              <a:latin typeface="+mn-lt"/>
              <a:cs typeface="Calibri Light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600">
                <a:latin typeface="+mn-lt"/>
                <a:cs typeface="Calibri Light"/>
              </a:rPr>
              <a:t>Yhdistykset ja järjestöt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600">
                <a:latin typeface="+mn-lt"/>
                <a:cs typeface="Calibri Light"/>
              </a:rPr>
              <a:t>Julkisiin tiloihin ja näyttöihin: k</a:t>
            </a:r>
            <a:r>
              <a:rPr lang="fi-FI" sz="1600">
                <a:latin typeface="+mn-lt"/>
              </a:rPr>
              <a:t>aupat, kirjastot ja terveyskeskukset</a:t>
            </a: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fi-FI" sz="1600">
              <a:latin typeface="+mn-lt"/>
              <a:cs typeface="Calibri Light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DFFFE"/>
              </a:buClr>
            </a:pPr>
            <a:endParaRPr lang="fi-FI" sz="2200">
              <a:latin typeface="+mn-lt"/>
              <a:cs typeface="Calibri Light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153A8C6-7162-F72E-1AB7-314E4FC9DF82}"/>
              </a:ext>
            </a:extLst>
          </p:cNvPr>
          <p:cNvSpPr txBox="1">
            <a:spLocks/>
          </p:cNvSpPr>
          <p:nvPr/>
        </p:nvSpPr>
        <p:spPr>
          <a:xfrm>
            <a:off x="8490081" y="1707583"/>
            <a:ext cx="3356858" cy="257304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</a:pPr>
            <a:r>
              <a:rPr lang="fi-FI" sz="2400" b="1">
                <a:latin typeface="+mn-lt"/>
                <a:cs typeface="Calibri Light"/>
              </a:rPr>
              <a:t>Miten?</a:t>
            </a:r>
          </a:p>
          <a:p>
            <a:pPr marL="270900" indent="-2709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500">
                <a:latin typeface="+mn-lt"/>
                <a:cs typeface="Calibri Light"/>
              </a:rPr>
              <a:t>Toistuva markkinointi</a:t>
            </a:r>
          </a:p>
          <a:p>
            <a:pPr marL="270900" indent="-2709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500">
                <a:latin typeface="+mn-lt"/>
                <a:cs typeface="Calibri Light"/>
              </a:rPr>
              <a:t>Esittelyt</a:t>
            </a:r>
          </a:p>
          <a:p>
            <a:pPr marL="270900" indent="-2709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500">
                <a:latin typeface="+mn-lt"/>
                <a:cs typeface="Calibri Light"/>
              </a:rPr>
              <a:t>Lehti-, tv- ja radiojutut</a:t>
            </a:r>
          </a:p>
          <a:p>
            <a:pPr marL="270900" indent="-2709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500">
                <a:latin typeface="+mn-lt"/>
                <a:cs typeface="Calibri Light"/>
              </a:rPr>
              <a:t>Presentaatio markkinoinnin tueksi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0DD81D6-59B4-4F64-EAAD-02B590329E1A}"/>
              </a:ext>
            </a:extLst>
          </p:cNvPr>
          <p:cNvSpPr txBox="1">
            <a:spLocks/>
          </p:cNvSpPr>
          <p:nvPr/>
        </p:nvSpPr>
        <p:spPr>
          <a:xfrm>
            <a:off x="8433796" y="3647598"/>
            <a:ext cx="3413143" cy="311952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</a:pPr>
            <a:r>
              <a:rPr lang="fi-FI" sz="2400" b="1">
                <a:latin typeface="+mn-lt"/>
                <a:cs typeface="Calibri Light"/>
              </a:rPr>
              <a:t>Printtiversion jakelu</a:t>
            </a:r>
          </a:p>
          <a:p>
            <a:pPr marL="270510" indent="-27051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500">
                <a:latin typeface="+mn-lt"/>
                <a:cs typeface="Calibri Light"/>
              </a:rPr>
              <a:t>Oppaasta voisi tulostaa haluamansa osiot itselleen netistä</a:t>
            </a:r>
          </a:p>
          <a:p>
            <a:pPr marL="270510" indent="-27051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500">
                <a:latin typeface="+mn-lt"/>
                <a:cs typeface="Calibri Light"/>
              </a:rPr>
              <a:t>Kotiinjakeluna ilmainen paperiversio + tieto siitä, mistä saa ajantasaisen version</a:t>
            </a:r>
          </a:p>
          <a:p>
            <a:pPr marL="270510" indent="-27051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500">
                <a:latin typeface="+mn-lt"/>
                <a:cs typeface="Calibri Light"/>
              </a:rPr>
              <a:t>Voisi myös olla ”on demand” – tarpeen mukaan tilattavissa </a:t>
            </a:r>
          </a:p>
          <a:p>
            <a:pPr marL="270510" indent="-27051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fi-FI" sz="1500">
                <a:latin typeface="+mn-lt"/>
                <a:cs typeface="Calibri Light"/>
              </a:rPr>
              <a:t>Ikäkeskuksen neuvonnassa voisi olla opas ja sieltä saatavissa</a:t>
            </a:r>
          </a:p>
        </p:txBody>
      </p:sp>
      <p:pic>
        <p:nvPicPr>
          <p:cNvPr id="19" name="Picture 18" descr="A cartoon of a person holding a dog&#10;&#10;Description automatically generated with medium confidence">
            <a:extLst>
              <a:ext uri="{FF2B5EF4-FFF2-40B4-BE49-F238E27FC236}">
                <a16:creationId xmlns:a16="http://schemas.microsoft.com/office/drawing/2014/main" id="{B1D1375E-343B-2BA6-E346-9DCA752C99D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116" y="1620236"/>
            <a:ext cx="2121575" cy="2461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41339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A2813E-5398-DC1D-4B29-A77220829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858" y="2606378"/>
            <a:ext cx="10515600" cy="1238319"/>
          </a:xfrm>
        </p:spPr>
        <p:txBody>
          <a:bodyPr/>
          <a:lstStyle/>
          <a:p>
            <a:r>
              <a:rPr lang="fi-FI" sz="4400">
                <a:solidFill>
                  <a:schemeClr val="tx1"/>
                </a:solidFill>
              </a:rPr>
              <a:t>Oppaan arviointi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4DE259-1340-0467-4638-1575B3A154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77035" y="4117749"/>
            <a:ext cx="7659692" cy="2160000"/>
          </a:xfrm>
        </p:spPr>
        <p:txBody>
          <a:bodyPr/>
          <a:lstStyle/>
          <a:p>
            <a:pPr marL="0" lvl="1" algn="ctr"/>
            <a:r>
              <a:rPr lang="fi-FI" sz="1800">
                <a:solidFill>
                  <a:schemeClr val="tx1"/>
                </a:solidFill>
              </a:rPr>
              <a:t>Taitettu luonnos oppaasta arviointiin sekä ikäihmisillä että asiakasohjaajilla. Käyttäjien mielipidettä kerättiin verkkokyselyllä sekä </a:t>
            </a:r>
            <a:r>
              <a:rPr lang="fi-FI" sz="1800" err="1">
                <a:solidFill>
                  <a:schemeClr val="tx1"/>
                </a:solidFill>
              </a:rPr>
              <a:t>Teamsissa</a:t>
            </a:r>
            <a:r>
              <a:rPr lang="fi-FI" sz="1800">
                <a:solidFill>
                  <a:schemeClr val="tx1"/>
                </a:solidFill>
              </a:rPr>
              <a:t> järjestettävällä keskustelutilaisuudella. Arvioinnissa testattiin vastaako opas ikäihmisten ja asiakasohjaajien tunnistettuihin tarpeisiin. Arvioinnin jälkeen tarvittavat kriittiset muutokset toteutettiin heti oppaaseen. Tämän lisäksi kerättiin ideoita oppaan jatkokehitystä varten.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9021639-5C55-32FE-7B31-BF5B187CEC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pPr/>
              <a:t>23</a:t>
            </a:fld>
            <a:endParaRPr lang="fi-FI"/>
          </a:p>
        </p:txBody>
      </p:sp>
      <p:pic>
        <p:nvPicPr>
          <p:cNvPr id="9" name="Picture 8" descr="A picture containing symbol, graphics, design&#10;&#10;Description automatically generated">
            <a:extLst>
              <a:ext uri="{FF2B5EF4-FFF2-40B4-BE49-F238E27FC236}">
                <a16:creationId xmlns:a16="http://schemas.microsoft.com/office/drawing/2014/main" id="{5F6AB6AF-3D34-180D-43EE-018098C2A81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2565" y="545966"/>
            <a:ext cx="3105649" cy="2543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5222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6678B3-5B6B-2BB5-84D0-6136E37FF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Kysel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CAB8791-CC5D-F4E9-A88F-268A0D4161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z="1000">
                <a:solidFill>
                  <a:schemeClr val="tx1"/>
                </a:solidFill>
              </a:rPr>
              <a:t>Oppaan arviointi</a:t>
            </a:r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557620D-E1B0-5CF9-75FD-5DC891E87D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24</a:t>
            </a:fld>
            <a:endParaRPr lang="fi-FI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3B6B8C5-36B2-CC77-20FD-55643D05F362}"/>
              </a:ext>
            </a:extLst>
          </p:cNvPr>
          <p:cNvSpPr txBox="1">
            <a:spLocks/>
          </p:cNvSpPr>
          <p:nvPr/>
        </p:nvSpPr>
        <p:spPr>
          <a:xfrm>
            <a:off x="933449" y="1743569"/>
            <a:ext cx="3487684" cy="538902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fi-FI" sz="1400" b="1">
                <a:solidFill>
                  <a:schemeClr val="tx1"/>
                </a:solidFill>
                <a:latin typeface="+mn-lt"/>
                <a:ea typeface="Calibri Light"/>
                <a:cs typeface="Calibri" panose="020F0502020204030204" pitchFamily="34" charset="0"/>
              </a:rPr>
              <a:t>Taustakysymykset:</a:t>
            </a:r>
          </a:p>
          <a:p>
            <a:pPr>
              <a:spcBef>
                <a:spcPts val="0"/>
              </a:spcBef>
            </a:pPr>
            <a:endParaRPr lang="fi-FI" sz="1300">
              <a:latin typeface="+mn-lt"/>
              <a:ea typeface="Calibri Light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fi-FI" sz="1200" b="1">
                <a:latin typeface="+mn-lt"/>
                <a:ea typeface="Calibri Light"/>
                <a:cs typeface="Calibri" panose="020F0502020204030204" pitchFamily="34" charset="0"/>
              </a:rPr>
              <a:t>Valitse sinua kuvaava vaihtoehto (voi valita useamman):*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latin typeface="+mn-lt"/>
                <a:ea typeface="Calibri Light"/>
                <a:cs typeface="Calibri" panose="020F0502020204030204" pitchFamily="34" charset="0"/>
              </a:rPr>
              <a:t>Olen + 65 vuotias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 b="0" i="0">
                <a:effectLst/>
                <a:latin typeface="+mn-lt"/>
                <a:cs typeface="Calibri" panose="020F0502020204030204" pitchFamily="34" charset="0"/>
              </a:rPr>
              <a:t>Olen ikäihmisten asioiden parissa työskentelevä ammattilainen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latin typeface="+mn-lt"/>
                <a:ea typeface="Calibri Light"/>
                <a:cs typeface="Calibri" panose="020F0502020204030204" pitchFamily="34" charset="0"/>
              </a:rPr>
              <a:t>Olen ikäihmisen läheinen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latin typeface="+mn-lt"/>
                <a:ea typeface="Calibri Light"/>
                <a:cs typeface="Calibri" panose="020F0502020204030204" pitchFamily="34" charset="0"/>
              </a:rPr>
              <a:t>Muu mikä</a:t>
            </a:r>
          </a:p>
          <a:p>
            <a:pPr>
              <a:spcBef>
                <a:spcPts val="0"/>
              </a:spcBef>
            </a:pPr>
            <a:endParaRPr lang="fi-FI" sz="1200">
              <a:latin typeface="+mn-lt"/>
              <a:ea typeface="Calibri Light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fi-FI" sz="1200" b="1">
                <a:latin typeface="+mn-lt"/>
                <a:ea typeface="Calibri Light"/>
                <a:cs typeface="Calibri" panose="020F0502020204030204" pitchFamily="34" charset="0"/>
              </a:rPr>
              <a:t>Minkä koet olevan oma tietotasosi asumisen asioista ikäihmisen näkökulmasta?*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latin typeface="+mn-lt"/>
                <a:ea typeface="Calibri Light"/>
                <a:cs typeface="Calibri" panose="020F0502020204030204" pitchFamily="34" charset="0"/>
              </a:rPr>
              <a:t>En tiedä kovinkaan paljon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latin typeface="+mn-lt"/>
                <a:ea typeface="Calibri Light"/>
                <a:cs typeface="Calibri" panose="020F0502020204030204" pitchFamily="34" charset="0"/>
              </a:rPr>
              <a:t>Tiedän jonkin verran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latin typeface="+mn-lt"/>
                <a:ea typeface="Calibri Light"/>
                <a:cs typeface="Calibri" panose="020F0502020204030204" pitchFamily="34" charset="0"/>
              </a:rPr>
              <a:t>Tiedän aika paljon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latin typeface="+mn-lt"/>
                <a:ea typeface="Calibri Light"/>
                <a:cs typeface="Calibri" panose="020F0502020204030204" pitchFamily="34" charset="0"/>
              </a:rPr>
              <a:t>Tiedän paljon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fi-FI" sz="1200">
              <a:latin typeface="+mn-lt"/>
              <a:ea typeface="Calibri Light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fi-FI" sz="1200" b="1">
                <a:latin typeface="+mn-lt"/>
                <a:ea typeface="Calibri Light"/>
                <a:cs typeface="Calibri" panose="020F0502020204030204" pitchFamily="34" charset="0"/>
              </a:rPr>
              <a:t>Mitkä asiat kiinnostaa sinua erityisen paljon? Rastita vaihtoehdot</a:t>
            </a:r>
            <a:endParaRPr lang="fi-FI" sz="1200">
              <a:effectLst/>
              <a:latin typeface="+mn-lt"/>
              <a:cs typeface="Calibri" panose="020F0502020204030204" pitchFamily="34" charset="0"/>
            </a:endParaRPr>
          </a:p>
          <a:p>
            <a:pPr marL="285750" indent="-285750">
              <a:lnSpc>
                <a:spcPct val="8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effectLst/>
                <a:latin typeface="+mn-lt"/>
                <a:cs typeface="Calibri" panose="020F0502020204030204" pitchFamily="34" charset="0"/>
              </a:rPr>
              <a:t>Kodin turvallisuus ja esteettömyys</a:t>
            </a:r>
          </a:p>
          <a:p>
            <a:pPr marL="285750" indent="-285750">
              <a:lnSpc>
                <a:spcPct val="8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effectLst/>
                <a:latin typeface="+mn-lt"/>
                <a:cs typeface="Calibri" panose="020F0502020204030204" pitchFamily="34" charset="0"/>
              </a:rPr>
              <a:t>Saatavilla olevat palvelut kotiin</a:t>
            </a:r>
          </a:p>
          <a:p>
            <a:pPr marL="285750" indent="-285750">
              <a:lnSpc>
                <a:spcPct val="8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effectLst/>
                <a:latin typeface="+mn-lt"/>
                <a:cs typeface="Calibri" panose="020F0502020204030204" pitchFamily="34" charset="0"/>
              </a:rPr>
              <a:t>Erilaiset asumisen vaihtoehdot ikääntyvälle</a:t>
            </a:r>
          </a:p>
          <a:p>
            <a:pPr marL="285750" indent="-285750">
              <a:lnSpc>
                <a:spcPct val="8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effectLst/>
                <a:latin typeface="+mn-lt"/>
                <a:cs typeface="Calibri" panose="020F0502020204030204" pitchFamily="34" charset="0"/>
              </a:rPr>
              <a:t>Oman kodin remontointi ikäystävällisemmäksi</a:t>
            </a:r>
          </a:p>
          <a:p>
            <a:pPr marL="285750" indent="-285750">
              <a:lnSpc>
                <a:spcPct val="8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effectLst/>
                <a:latin typeface="+mn-lt"/>
                <a:cs typeface="Calibri" panose="020F0502020204030204" pitchFamily="34" charset="0"/>
              </a:rPr>
              <a:t>Apuvälineet</a:t>
            </a:r>
          </a:p>
          <a:p>
            <a:pPr marL="285750" indent="-285750">
              <a:lnSpc>
                <a:spcPct val="8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effectLst/>
                <a:latin typeface="+mn-lt"/>
                <a:cs typeface="Calibri" panose="020F0502020204030204" pitchFamily="34" charset="0"/>
              </a:rPr>
              <a:t>Taloudellinen tuki korjaustöihin ja asumiskustannuksiin</a:t>
            </a:r>
          </a:p>
          <a:p>
            <a:pPr marL="285750" indent="-285750">
              <a:lnSpc>
                <a:spcPct val="8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effectLst/>
                <a:latin typeface="+mn-lt"/>
                <a:cs typeface="Calibri" panose="020F0502020204030204" pitchFamily="34" charset="0"/>
              </a:rPr>
              <a:t>Muiden kokemukset</a:t>
            </a:r>
          </a:p>
          <a:p>
            <a:pPr marL="285750" indent="-285750">
              <a:lnSpc>
                <a:spcPct val="8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effectLst/>
                <a:latin typeface="+mn-lt"/>
                <a:cs typeface="Calibri" panose="020F0502020204030204" pitchFamily="34" charset="0"/>
              </a:rPr>
              <a:t>Muu, mikä?</a:t>
            </a:r>
          </a:p>
          <a:p>
            <a:pPr>
              <a:spcBef>
                <a:spcPts val="0"/>
              </a:spcBef>
            </a:pPr>
            <a:endParaRPr lang="fi-FI" sz="1300">
              <a:latin typeface="+mn-lt"/>
              <a:ea typeface="Calibri Light"/>
              <a:cs typeface="Calibri" panose="020F0502020204030204" pitchFamily="34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0555AB5-1B60-836F-9CAD-7C3AE4682EF0}"/>
              </a:ext>
            </a:extLst>
          </p:cNvPr>
          <p:cNvSpPr txBox="1">
            <a:spLocks/>
          </p:cNvSpPr>
          <p:nvPr/>
        </p:nvSpPr>
        <p:spPr>
          <a:xfrm>
            <a:off x="4765963" y="1743569"/>
            <a:ext cx="3414111" cy="526815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fi-FI" sz="1400" b="1">
                <a:solidFill>
                  <a:schemeClr val="tx1"/>
                </a:solidFill>
                <a:latin typeface="+mn-lt"/>
                <a:ea typeface="Calibri Light"/>
                <a:cs typeface="Calibri" panose="020F0502020204030204" pitchFamily="34" charset="0"/>
              </a:rPr>
              <a:t>Oppaan arviointi:</a:t>
            </a:r>
          </a:p>
          <a:p>
            <a:pPr>
              <a:spcBef>
                <a:spcPts val="0"/>
              </a:spcBef>
            </a:pPr>
            <a:endParaRPr lang="fi-FI" sz="1300">
              <a:latin typeface="+mn-lt"/>
              <a:ea typeface="Calibri Light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fi-FI" sz="1200" b="1">
                <a:latin typeface="+mn-lt"/>
                <a:ea typeface="Calibri Light"/>
                <a:cs typeface="Calibri" panose="020F0502020204030204" pitchFamily="34" charset="0"/>
              </a:rPr>
              <a:t>Koitko oppaan sisällön kuinka hyödylliseksi:* 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latin typeface="+mn-lt"/>
                <a:ea typeface="Calibri Light"/>
                <a:cs typeface="Calibri" panose="020F0502020204030204" pitchFamily="34" charset="0"/>
              </a:rPr>
              <a:t>Ei ollenkaan hyödyllinen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latin typeface="+mn-lt"/>
                <a:ea typeface="Calibri Light"/>
                <a:cs typeface="Calibri" panose="020F0502020204030204" pitchFamily="34" charset="0"/>
              </a:rPr>
              <a:t>Ei kovin hyödyllinen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latin typeface="+mn-lt"/>
                <a:ea typeface="Calibri Light"/>
                <a:cs typeface="Calibri" panose="020F0502020204030204" pitchFamily="34" charset="0"/>
              </a:rPr>
              <a:t>Melko hyödyllinen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latin typeface="+mn-lt"/>
                <a:ea typeface="Calibri Light"/>
                <a:cs typeface="Calibri" panose="020F0502020204030204" pitchFamily="34" charset="0"/>
              </a:rPr>
              <a:t>Hyvin hyödyllinen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latin typeface="+mn-lt"/>
                <a:ea typeface="Calibri Light"/>
                <a:cs typeface="Calibri" panose="020F0502020204030204" pitchFamily="34" charset="0"/>
              </a:rPr>
              <a:t>Erittäin hyödyllinen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latin typeface="+mn-lt"/>
                <a:ea typeface="Calibri Light"/>
                <a:cs typeface="Calibri" panose="020F0502020204030204" pitchFamily="34" charset="0"/>
              </a:rPr>
              <a:t>En osaa sanoa</a:t>
            </a:r>
          </a:p>
          <a:p>
            <a:pPr>
              <a:spcBef>
                <a:spcPts val="0"/>
              </a:spcBef>
            </a:pPr>
            <a:endParaRPr lang="fi-FI" sz="1200">
              <a:latin typeface="+mn-lt"/>
              <a:ea typeface="Calibri Light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fi-FI" sz="1200" b="1">
                <a:latin typeface="+mn-lt"/>
                <a:ea typeface="Calibri Light"/>
                <a:cs typeface="Calibri" panose="020F0502020204030204" pitchFamily="34" charset="0"/>
              </a:rPr>
              <a:t>Kuinka selkeä opas oli mielestäsi:*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latin typeface="+mn-lt"/>
                <a:ea typeface="Calibri Light"/>
                <a:cs typeface="Calibri" panose="020F0502020204030204" pitchFamily="34" charset="0"/>
              </a:rPr>
              <a:t>Ei ollenkaan selkeä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latin typeface="+mn-lt"/>
                <a:ea typeface="Calibri Light"/>
                <a:cs typeface="Calibri" panose="020F0502020204030204" pitchFamily="34" charset="0"/>
              </a:rPr>
              <a:t>Ei kovin selkeä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latin typeface="+mn-lt"/>
                <a:ea typeface="Calibri Light"/>
                <a:cs typeface="Calibri" panose="020F0502020204030204" pitchFamily="34" charset="0"/>
              </a:rPr>
              <a:t>Melko selkeä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latin typeface="+mn-lt"/>
                <a:ea typeface="Calibri Light"/>
                <a:cs typeface="Calibri" panose="020F0502020204030204" pitchFamily="34" charset="0"/>
              </a:rPr>
              <a:t>Hyvin selkeä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latin typeface="+mn-lt"/>
                <a:ea typeface="Calibri Light"/>
                <a:cs typeface="Calibri" panose="020F0502020204030204" pitchFamily="34" charset="0"/>
              </a:rPr>
              <a:t>Erittäin selkeä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latin typeface="+mn-lt"/>
                <a:ea typeface="Calibri Light"/>
                <a:cs typeface="Calibri" panose="020F0502020204030204" pitchFamily="34" charset="0"/>
              </a:rPr>
              <a:t>En osaa sanoa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fi-FI" sz="1200">
              <a:latin typeface="+mn-lt"/>
              <a:ea typeface="Calibri Light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fi-FI" sz="1200" b="1">
                <a:latin typeface="+mn-lt"/>
                <a:ea typeface="Calibri Light"/>
                <a:cs typeface="Calibri" panose="020F0502020204030204" pitchFamily="34" charset="0"/>
              </a:rPr>
              <a:t>Oliko oppaassa mielestäsi sopiva määrä asiaa? 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effectLst/>
                <a:latin typeface="+mn-lt"/>
                <a:cs typeface="Calibri" panose="020F0502020204030204" pitchFamily="34" charset="0"/>
              </a:rPr>
              <a:t>Oppaassa oli liian vähän tietoa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effectLst/>
                <a:latin typeface="+mn-lt"/>
                <a:cs typeface="Calibri" panose="020F0502020204030204" pitchFamily="34" charset="0"/>
              </a:rPr>
              <a:t>Oppaassa oli sopiva määrä tietoa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200">
                <a:effectLst/>
                <a:latin typeface="+mn-lt"/>
                <a:cs typeface="Calibri" panose="020F0502020204030204" pitchFamily="34" charset="0"/>
              </a:rPr>
              <a:t>Oppaassa oli jo vähän liikaakin tietoa</a:t>
            </a:r>
          </a:p>
          <a:p>
            <a:pPr>
              <a:spcBef>
                <a:spcPts val="0"/>
              </a:spcBef>
            </a:pPr>
            <a:endParaRPr lang="fi-FI" sz="1200">
              <a:latin typeface="+mn-lt"/>
              <a:ea typeface="Calibri Light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fi-FI" sz="1200" b="1">
                <a:latin typeface="+mn-lt"/>
                <a:ea typeface="Calibri Light"/>
                <a:cs typeface="Calibri" panose="020F0502020204030204" pitchFamily="34" charset="0"/>
              </a:rPr>
              <a:t>Jäitkö kaipaamaan jotain sisältöä tai tietoa? </a:t>
            </a:r>
            <a:br>
              <a:rPr lang="fi-FI" sz="1200" b="1">
                <a:latin typeface="+mn-lt"/>
                <a:ea typeface="Calibri Light"/>
                <a:cs typeface="Calibri" panose="020F0502020204030204" pitchFamily="34" charset="0"/>
              </a:rPr>
            </a:br>
            <a:r>
              <a:rPr lang="fi-FI" sz="1200">
                <a:latin typeface="+mn-lt"/>
                <a:ea typeface="Calibri Light"/>
                <a:cs typeface="Calibri" panose="020F0502020204030204" pitchFamily="34" charset="0"/>
              </a:rPr>
              <a:t>Kyllä / ei / en osaa sanoa</a:t>
            </a:r>
          </a:p>
          <a:p>
            <a:pPr>
              <a:spcBef>
                <a:spcPts val="0"/>
              </a:spcBef>
            </a:pPr>
            <a:r>
              <a:rPr lang="fi-FI" sz="1200">
                <a:latin typeface="+mn-lt"/>
                <a:ea typeface="Calibri Light"/>
                <a:cs typeface="Calibri" panose="020F0502020204030204" pitchFamily="34" charset="0"/>
              </a:rPr>
              <a:t>-&gt;  jos kyllä: mitä (avoin kenttä)</a:t>
            </a:r>
          </a:p>
          <a:p>
            <a:pPr>
              <a:spcBef>
                <a:spcPts val="0"/>
              </a:spcBef>
            </a:pPr>
            <a:endParaRPr lang="fi-FI" sz="1300">
              <a:latin typeface="+mn-lt"/>
              <a:ea typeface="Calibri Light"/>
              <a:cs typeface="Calibri" panose="020F0502020204030204" pitchFamily="34" charset="0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1017BFE-ACF8-9EE2-7AA3-3FEDFF5FDF0A}"/>
              </a:ext>
            </a:extLst>
          </p:cNvPr>
          <p:cNvSpPr txBox="1">
            <a:spLocks/>
          </p:cNvSpPr>
          <p:nvPr/>
        </p:nvSpPr>
        <p:spPr>
          <a:xfrm>
            <a:off x="8283903" y="2095665"/>
            <a:ext cx="3414111" cy="526815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fi-FI" sz="1200" b="1">
                <a:latin typeface="+mn-lt"/>
                <a:ea typeface="Calibri Light"/>
                <a:cs typeface="Calibri" panose="020F0502020204030204" pitchFamily="34" charset="0"/>
              </a:rPr>
              <a:t>Anna oppaalle kokonaisarvosana* </a:t>
            </a:r>
            <a:r>
              <a:rPr lang="fi-FI" sz="1200">
                <a:latin typeface="+mn-lt"/>
                <a:ea typeface="Calibri Light"/>
                <a:cs typeface="Calibri" panose="020F0502020204030204" pitchFamily="34" charset="0"/>
              </a:rPr>
              <a:t>kouluarvosana- asteikko, 4 on huonoin ja 10 paras</a:t>
            </a:r>
          </a:p>
          <a:p>
            <a:pPr>
              <a:spcBef>
                <a:spcPts val="0"/>
              </a:spcBef>
            </a:pPr>
            <a:endParaRPr lang="fi-FI" sz="1200">
              <a:latin typeface="+mn-lt"/>
              <a:ea typeface="Calibri Light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fi-FI" sz="1200" b="1">
                <a:latin typeface="+mn-lt"/>
                <a:ea typeface="Calibri Light"/>
                <a:cs typeface="Calibri" panose="020F0502020204030204" pitchFamily="34" charset="0"/>
              </a:rPr>
              <a:t>Mikä oppaassa on mielestäsi erityisen hyvää?</a:t>
            </a:r>
          </a:p>
          <a:p>
            <a:pPr>
              <a:spcBef>
                <a:spcPts val="0"/>
              </a:spcBef>
            </a:pPr>
            <a:r>
              <a:rPr lang="fi-FI" sz="1200">
                <a:latin typeface="+mn-lt"/>
                <a:ea typeface="Calibri Light"/>
                <a:cs typeface="Calibri" panose="020F0502020204030204" pitchFamily="34" charset="0"/>
              </a:rPr>
              <a:t>Avoin kenttä</a:t>
            </a:r>
          </a:p>
          <a:p>
            <a:pPr>
              <a:spcBef>
                <a:spcPts val="0"/>
              </a:spcBef>
            </a:pPr>
            <a:endParaRPr lang="fi-FI" sz="1200">
              <a:latin typeface="+mn-lt"/>
              <a:ea typeface="Calibri Light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fi-FI" sz="1200" b="1">
                <a:latin typeface="+mn-lt"/>
                <a:ea typeface="Calibri Light"/>
                <a:cs typeface="Calibri" panose="020F0502020204030204" pitchFamily="34" charset="0"/>
              </a:rPr>
              <a:t>Mikä oppaassa olisi voinut olla paremmin?</a:t>
            </a:r>
          </a:p>
          <a:p>
            <a:pPr>
              <a:spcBef>
                <a:spcPts val="0"/>
              </a:spcBef>
            </a:pPr>
            <a:r>
              <a:rPr lang="fi-FI" sz="1200">
                <a:latin typeface="+mn-lt"/>
                <a:ea typeface="Calibri Light"/>
                <a:cs typeface="Calibri" panose="020F0502020204030204" pitchFamily="34" charset="0"/>
              </a:rPr>
              <a:t>Avoin kenttä</a:t>
            </a:r>
            <a:br>
              <a:rPr lang="fi-FI" sz="1200">
                <a:latin typeface="+mn-lt"/>
                <a:ea typeface="Calibri Light"/>
                <a:cs typeface="Calibri" panose="020F0502020204030204" pitchFamily="34" charset="0"/>
              </a:rPr>
            </a:br>
            <a:endParaRPr lang="fi-FI" sz="1200">
              <a:latin typeface="+mn-lt"/>
              <a:ea typeface="Calibri Light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fi-FI" sz="1200" b="1" i="0">
                <a:solidFill>
                  <a:srgbClr val="404040"/>
                </a:solidFill>
                <a:effectLst/>
                <a:latin typeface="+mn-lt"/>
                <a:cs typeface="Calibri" panose="020F0502020204030204" pitchFamily="34" charset="0"/>
              </a:rPr>
              <a:t>Liitämme asumisen oppaaseen vielä hyödyllisiä vinkkejä ja sananlaskuja piristämään lukukokemusta. Halutessasi voit jakaa alle vinkin tai sananlaskun oppaan aiheeseen liittyen</a:t>
            </a:r>
          </a:p>
          <a:p>
            <a:pPr>
              <a:spcBef>
                <a:spcPts val="0"/>
              </a:spcBef>
            </a:pPr>
            <a:r>
              <a:rPr lang="fi-FI" sz="1200">
                <a:latin typeface="+mn-lt"/>
                <a:ea typeface="Calibri Light"/>
                <a:cs typeface="Calibri" panose="020F0502020204030204" pitchFamily="34" charset="0"/>
              </a:rPr>
              <a:t>Avoin kenttä</a:t>
            </a:r>
            <a:br>
              <a:rPr lang="fi-FI" sz="1200">
                <a:latin typeface="+mn-lt"/>
                <a:ea typeface="Calibri Light"/>
                <a:cs typeface="Calibri" panose="020F0502020204030204" pitchFamily="34" charset="0"/>
              </a:rPr>
            </a:br>
            <a:endParaRPr lang="fi-FI" sz="1200">
              <a:latin typeface="+mn-lt"/>
              <a:ea typeface="Calibri Light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r>
              <a:rPr lang="fi-FI" sz="1200">
                <a:latin typeface="+mn-lt"/>
                <a:ea typeface="Calibri Light"/>
                <a:cs typeface="Calibri" panose="020F0502020204030204" pitchFamily="34" charset="0"/>
              </a:rPr>
              <a:t>Iso kiitos osallistumisestasi.</a:t>
            </a:r>
          </a:p>
        </p:txBody>
      </p:sp>
    </p:spTree>
    <p:extLst>
      <p:ext uri="{BB962C8B-B14F-4D97-AF65-F5344CB8AC3E}">
        <p14:creationId xmlns:p14="http://schemas.microsoft.com/office/powerpoint/2010/main" val="215648830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68A04CE-93FA-7D2C-12EC-94866539A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5173" y="861647"/>
            <a:ext cx="10124609" cy="1234018"/>
          </a:xfrm>
        </p:spPr>
        <p:txBody>
          <a:bodyPr/>
          <a:lstStyle/>
          <a:p>
            <a:r>
              <a:rPr lang="fi-FI" sz="3200"/>
              <a:t>Kyselyn kautta annettu palaute saavutti ammattilaisia paremmin, kuin ikäihmisiä ja läheisiä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EC3DF5-EAC8-6EC2-F488-98A0C4D81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z="1000">
                <a:solidFill>
                  <a:schemeClr val="tx1"/>
                </a:solidFill>
              </a:rPr>
              <a:t>Oppaan arviointi</a:t>
            </a:r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119403-2E29-3E53-69EC-A6BBBA4C3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pPr/>
              <a:t>25</a:t>
            </a:fld>
            <a:endParaRPr lang="fi-FI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9634F73-21F7-F32B-F8D9-66FBCEA19F03}"/>
              </a:ext>
            </a:extLst>
          </p:cNvPr>
          <p:cNvSpPr txBox="1">
            <a:spLocks/>
          </p:cNvSpPr>
          <p:nvPr/>
        </p:nvSpPr>
        <p:spPr>
          <a:xfrm>
            <a:off x="3373069" y="2598264"/>
            <a:ext cx="1502874" cy="105045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3237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i-FI" sz="8000">
                <a:solidFill>
                  <a:schemeClr val="tx1"/>
                </a:solidFill>
                <a:latin typeface="+mn-lt"/>
              </a:rPr>
              <a:t>27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CD40FE5-3A79-1433-04E0-9ADA531909E3}"/>
              </a:ext>
            </a:extLst>
          </p:cNvPr>
          <p:cNvSpPr txBox="1"/>
          <p:nvPr/>
        </p:nvSpPr>
        <p:spPr>
          <a:xfrm>
            <a:off x="4726305" y="2673525"/>
            <a:ext cx="352632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>
                <a:solidFill>
                  <a:schemeClr val="tx2"/>
                </a:solidFill>
              </a:rPr>
              <a:t>vastaajaa. Kysely toteutettiin </a:t>
            </a:r>
            <a:r>
              <a:rPr lang="fi-FI" err="1">
                <a:solidFill>
                  <a:schemeClr val="tx2"/>
                </a:solidFill>
              </a:rPr>
              <a:t>Questback</a:t>
            </a:r>
            <a:r>
              <a:rPr lang="fi-FI">
                <a:solidFill>
                  <a:schemeClr val="tx2"/>
                </a:solidFill>
              </a:rPr>
              <a:t>-työkalulla ja se oli auki 15.–23.5. välisenä aikana. </a:t>
            </a:r>
          </a:p>
          <a:p>
            <a:endParaRPr lang="fi-FI">
              <a:solidFill>
                <a:schemeClr val="tx2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76FB0CB-39F8-B90B-9421-A7C11BF15B01}"/>
              </a:ext>
            </a:extLst>
          </p:cNvPr>
          <p:cNvCxnSpPr>
            <a:cxnSpLocks/>
          </p:cNvCxnSpPr>
          <p:nvPr/>
        </p:nvCxnSpPr>
        <p:spPr>
          <a:xfrm>
            <a:off x="4854324" y="4028230"/>
            <a:ext cx="0" cy="133781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D6D9EE60-80DE-AC6E-BDAD-B014EAE55EC6}"/>
              </a:ext>
            </a:extLst>
          </p:cNvPr>
          <p:cNvSpPr txBox="1">
            <a:spLocks/>
          </p:cNvSpPr>
          <p:nvPr/>
        </p:nvSpPr>
        <p:spPr>
          <a:xfrm>
            <a:off x="3411023" y="4144552"/>
            <a:ext cx="1502874" cy="105045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3237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i-FI" sz="6000">
                <a:solidFill>
                  <a:schemeClr val="accent1"/>
                </a:solidFill>
                <a:latin typeface="+mn-lt"/>
              </a:rPr>
              <a:t>16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81137B3-E1EE-C59C-4D69-AAA88FF74256}"/>
              </a:ext>
            </a:extLst>
          </p:cNvPr>
          <p:cNvSpPr txBox="1"/>
          <p:nvPr/>
        </p:nvSpPr>
        <p:spPr>
          <a:xfrm>
            <a:off x="3323279" y="4996710"/>
            <a:ext cx="1552664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700">
                <a:solidFill>
                  <a:schemeClr val="tx2"/>
                </a:solidFill>
              </a:rPr>
              <a:t>Ammattilaista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14FAA65-BD43-5B20-8ECB-5CD969354C13}"/>
              </a:ext>
            </a:extLst>
          </p:cNvPr>
          <p:cNvSpPr txBox="1">
            <a:spLocks/>
          </p:cNvSpPr>
          <p:nvPr/>
        </p:nvSpPr>
        <p:spPr>
          <a:xfrm>
            <a:off x="5374770" y="4144552"/>
            <a:ext cx="1502874" cy="105045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3237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i-FI" sz="6000">
                <a:solidFill>
                  <a:schemeClr val="bg2"/>
                </a:solidFill>
                <a:latin typeface="+mn-lt"/>
              </a:rPr>
              <a:t>8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11F59C5-9B23-EBF5-0109-8BCE671D9358}"/>
              </a:ext>
            </a:extLst>
          </p:cNvPr>
          <p:cNvSpPr txBox="1"/>
          <p:nvPr/>
        </p:nvSpPr>
        <p:spPr>
          <a:xfrm>
            <a:off x="5155574" y="4996710"/>
            <a:ext cx="1552664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700">
                <a:solidFill>
                  <a:schemeClr val="tx2"/>
                </a:solidFill>
              </a:rPr>
              <a:t>Ikäihmistä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56FC9FAB-EFFF-E75D-D832-6AD68A40E8DC}"/>
              </a:ext>
            </a:extLst>
          </p:cNvPr>
          <p:cNvSpPr txBox="1">
            <a:spLocks/>
          </p:cNvSpPr>
          <p:nvPr/>
        </p:nvSpPr>
        <p:spPr>
          <a:xfrm>
            <a:off x="7079380" y="4144552"/>
            <a:ext cx="1502874" cy="105045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3237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i-FI" sz="6000">
                <a:solidFill>
                  <a:schemeClr val="bg1">
                    <a:lumMod val="65000"/>
                  </a:schemeClr>
                </a:solidFill>
                <a:latin typeface="+mn-lt"/>
              </a:rPr>
              <a:t>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30DD0D3-6A8F-1E7F-A501-9D651D7678EE}"/>
              </a:ext>
            </a:extLst>
          </p:cNvPr>
          <p:cNvSpPr txBox="1"/>
          <p:nvPr/>
        </p:nvSpPr>
        <p:spPr>
          <a:xfrm>
            <a:off x="6953617" y="4996710"/>
            <a:ext cx="1552664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700">
                <a:solidFill>
                  <a:schemeClr val="tx2"/>
                </a:solidFill>
              </a:rPr>
              <a:t>Läheistä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CD45470-F6A8-CBD0-3C9F-5A07FB3A43E0}"/>
              </a:ext>
            </a:extLst>
          </p:cNvPr>
          <p:cNvCxnSpPr>
            <a:cxnSpLocks/>
          </p:cNvCxnSpPr>
          <p:nvPr/>
        </p:nvCxnSpPr>
        <p:spPr>
          <a:xfrm>
            <a:off x="6542534" y="4028230"/>
            <a:ext cx="0" cy="133781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36274FB-435C-E7CD-7953-B425BCAFD3E4}"/>
              </a:ext>
            </a:extLst>
          </p:cNvPr>
          <p:cNvCxnSpPr>
            <a:cxnSpLocks/>
          </p:cNvCxnSpPr>
          <p:nvPr/>
        </p:nvCxnSpPr>
        <p:spPr>
          <a:xfrm flipH="1">
            <a:off x="3342445" y="3911282"/>
            <a:ext cx="4756281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039202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68A04CE-93FA-7D2C-12EC-94866539A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5174" y="861647"/>
            <a:ext cx="7901544" cy="1234018"/>
          </a:xfrm>
        </p:spPr>
        <p:txBody>
          <a:bodyPr/>
          <a:lstStyle/>
          <a:p>
            <a:r>
              <a:rPr lang="fi-FI" sz="2800"/>
              <a:t>Opasta pidettiin vähintään melko hyödyllisenä kaikissa vastaajakategorioiss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EC3DF5-EAC8-6EC2-F488-98A0C4D81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z="1000">
                <a:solidFill>
                  <a:schemeClr val="tx1"/>
                </a:solidFill>
              </a:rPr>
              <a:t>Oppaan arviointi</a:t>
            </a:r>
            <a:endParaRPr lang="fi-FI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5507B1E8-68D1-F1E3-18E2-9AFBEB30790C}"/>
              </a:ext>
            </a:extLst>
          </p:cNvPr>
          <p:cNvCxnSpPr>
            <a:cxnSpLocks/>
          </p:cNvCxnSpPr>
          <p:nvPr/>
        </p:nvCxnSpPr>
        <p:spPr>
          <a:xfrm>
            <a:off x="729820" y="5752784"/>
            <a:ext cx="979578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EF87D335-95E3-1FDA-BDD5-83BFE5D3D1EF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8846717" y="5951539"/>
            <a:ext cx="188957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16000" indent="-108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Font typeface="Helvetica" panose="020B0604020202020204" pitchFamily="34" charset="0"/>
              <a:buChar char="-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fi-FI" sz="10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64DC23-0572-46F2-ACF3-25A7B24176E7}" type="datetime'T''o''''dell''''''''a h''y''ödy''''''''ll''i''n''en'">
              <a:rPr lang="fi-FI" altLang="en-US" smtClean="0">
                <a:solidFill>
                  <a:schemeClr val="tx2"/>
                </a:solidFill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della hyödyllinen</a:t>
            </a:fld>
            <a:endParaRPr lang="fi-FI">
              <a:solidFill>
                <a:schemeClr val="tx2"/>
              </a:solidFill>
              <a:cs typeface="+mn-cs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4EA4DC66-9C08-A43E-1913-92F201180B8D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703863" y="5951539"/>
            <a:ext cx="120906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16000" indent="-108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Font typeface="Helvetica" panose="020B0604020202020204" pitchFamily="34" charset="0"/>
              <a:buChar char="-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fi-FI" sz="10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940F9C-55E3-4027-82FD-C60A9BB3A644}" type="datetime'''Ei ''''''''''h''''''yö''d''''y''llin''''e''''''n'''''">
              <a:rPr lang="fi-FI" altLang="en-US" smtClean="0">
                <a:solidFill>
                  <a:schemeClr val="tx2"/>
                </a:solidFill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i hyödyllinen</a:t>
            </a:fld>
            <a:endParaRPr lang="fi-FI">
              <a:solidFill>
                <a:schemeClr val="tx2"/>
              </a:solidFill>
              <a:cs typeface="+mn-cs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271A3D24-FD4A-8952-BCEB-DABA4DE4EA3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220729" y="5951539"/>
            <a:ext cx="1884804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16000" indent="-108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Font typeface="Helvetica" panose="020B0604020202020204" pitchFamily="34" charset="0"/>
              <a:buChar char="-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fi-FI" sz="10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AC18CB-9A9D-4A28-8CD9-83D37F02E320}" type="datetime'''''E''i'' ''kovin'' h''''''yödy''''l''l''i''n''''e''''''n'">
              <a:rPr lang="fi-FI" altLang="en-US" smtClean="0">
                <a:solidFill>
                  <a:schemeClr val="tx2"/>
                </a:solidFill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i kovin hyödyllinen</a:t>
            </a:fld>
            <a:endParaRPr lang="fi-FI">
              <a:solidFill>
                <a:schemeClr val="tx2"/>
              </a:solidFill>
              <a:cs typeface="+mn-cs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9C5663B0-7290-39AF-B499-E88E6E5FFE2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7033245" y="5951539"/>
            <a:ext cx="1574244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16000" indent="-108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Font typeface="Helvetica" panose="020B0604020202020204" pitchFamily="34" charset="0"/>
              <a:buChar char="-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fi-FI" sz="10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F191CE-A107-4710-89F0-E26EE36DEDB7}" type="datetime'Hyv''''i''n'''''''''' hyöd''''''yl''''l''''in''''''''en'''''">
              <a:rPr lang="fi-FI" altLang="en-US" smtClean="0">
                <a:solidFill>
                  <a:schemeClr val="tx2"/>
                </a:solidFill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Hyvin hyödyllinen</a:t>
            </a:fld>
            <a:endParaRPr lang="fi-FI">
              <a:solidFill>
                <a:schemeClr val="tx2"/>
              </a:solidFill>
              <a:cs typeface="+mn-cs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E3A52838-811F-258D-8FB9-0DE6D114929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387333" y="5951539"/>
            <a:ext cx="174848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16000" indent="-108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Font typeface="Helvetica" panose="020B0604020202020204" pitchFamily="34" charset="0"/>
              <a:buChar char="-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fi-FI" sz="10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993736-79FD-4074-B748-B27509534976}" type="datetime'''''M''el''''''k''o'''' ''''h''''yödy''''''l''''li''n''''e''n'">
              <a:rPr lang="fi-FI" altLang="en-US" smtClean="0">
                <a:solidFill>
                  <a:schemeClr val="tx2"/>
                </a:solidFill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elko hyödyllinen</a:t>
            </a:fld>
            <a:endParaRPr lang="fi-FI">
              <a:solidFill>
                <a:schemeClr val="tx2"/>
              </a:solidFill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A513ABA-E66B-F554-9D7C-3D3EC3879B0C}"/>
              </a:ext>
            </a:extLst>
          </p:cNvPr>
          <p:cNvSpPr txBox="1"/>
          <p:nvPr/>
        </p:nvSpPr>
        <p:spPr>
          <a:xfrm>
            <a:off x="8188591" y="4857600"/>
            <a:ext cx="3488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 altLang="en-US" sz="1800">
                <a:solidFill>
                  <a:schemeClr val="tx2"/>
                </a:solidFill>
              </a:rPr>
              <a:t>1</a:t>
            </a:r>
            <a:endParaRPr lang="fi-FI">
              <a:solidFill>
                <a:schemeClr val="tx2"/>
              </a:solidFill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A348AD3-BD9D-DCAF-5122-B4B805AA0677}"/>
              </a:ext>
            </a:extLst>
          </p:cNvPr>
          <p:cNvSpPr txBox="1"/>
          <p:nvPr/>
        </p:nvSpPr>
        <p:spPr>
          <a:xfrm>
            <a:off x="5608353" y="4404927"/>
            <a:ext cx="3488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 altLang="en-US" sz="1800">
                <a:solidFill>
                  <a:schemeClr val="tx2"/>
                </a:solidFill>
              </a:rPr>
              <a:t>2</a:t>
            </a:r>
            <a:endParaRPr lang="fi-FI">
              <a:solidFill>
                <a:schemeClr val="tx2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B5B0FC1-ADE4-CCD0-9185-682B0F352018}"/>
              </a:ext>
            </a:extLst>
          </p:cNvPr>
          <p:cNvSpPr txBox="1"/>
          <p:nvPr/>
        </p:nvSpPr>
        <p:spPr>
          <a:xfrm>
            <a:off x="4467616" y="4404927"/>
            <a:ext cx="3488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 altLang="en-US" sz="1800">
                <a:solidFill>
                  <a:schemeClr val="tx2"/>
                </a:solidFill>
              </a:rPr>
              <a:t>2</a:t>
            </a:r>
            <a:endParaRPr lang="fi-FI">
              <a:solidFill>
                <a:schemeClr val="tx2"/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CF6BFDC-CBCA-4F0B-F1BF-23DC69F1E96D}"/>
              </a:ext>
            </a:extLst>
          </p:cNvPr>
          <p:cNvSpPr txBox="1"/>
          <p:nvPr/>
        </p:nvSpPr>
        <p:spPr>
          <a:xfrm>
            <a:off x="9600932" y="1697941"/>
            <a:ext cx="3488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>
                <a:solidFill>
                  <a:schemeClr val="tx2"/>
                </a:solidFill>
              </a:rPr>
              <a:t>8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1D14546-131B-9CD6-3A9E-243782349450}"/>
              </a:ext>
            </a:extLst>
          </p:cNvPr>
          <p:cNvSpPr txBox="1"/>
          <p:nvPr/>
        </p:nvSpPr>
        <p:spPr>
          <a:xfrm>
            <a:off x="7627276" y="3037854"/>
            <a:ext cx="3488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 altLang="en-US" sz="1800">
                <a:solidFill>
                  <a:schemeClr val="tx2"/>
                </a:solidFill>
              </a:rPr>
              <a:t>5</a:t>
            </a:r>
            <a:endParaRPr lang="fi-FI">
              <a:solidFill>
                <a:schemeClr val="tx2"/>
              </a:solidFill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F2D9785-778C-2363-E684-B75B58338685}"/>
              </a:ext>
            </a:extLst>
          </p:cNvPr>
          <p:cNvSpPr txBox="1"/>
          <p:nvPr/>
        </p:nvSpPr>
        <p:spPr>
          <a:xfrm>
            <a:off x="7011641" y="2594235"/>
            <a:ext cx="3488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 altLang="en-US" sz="1800">
                <a:solidFill>
                  <a:schemeClr val="tx2"/>
                </a:solidFill>
              </a:rPr>
              <a:t>6</a:t>
            </a:r>
            <a:endParaRPr lang="fi-FI">
              <a:solidFill>
                <a:schemeClr val="tx2"/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CA78E9A-23C5-A45C-8306-4229D54FA07A}"/>
              </a:ext>
            </a:extLst>
          </p:cNvPr>
          <p:cNvSpPr txBox="1"/>
          <p:nvPr/>
        </p:nvSpPr>
        <p:spPr>
          <a:xfrm>
            <a:off x="5019878" y="3916041"/>
            <a:ext cx="3488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 altLang="en-US" sz="1800">
                <a:solidFill>
                  <a:schemeClr val="tx2"/>
                </a:solidFill>
              </a:rPr>
              <a:t>3</a:t>
            </a:r>
            <a:endParaRPr lang="fi-FI">
              <a:solidFill>
                <a:schemeClr val="tx2"/>
              </a:solidFill>
            </a:endParaRP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23015950-E301-BC50-3699-31EE18BF173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94261" y="1673327"/>
            <a:ext cx="7015296" cy="4523019"/>
          </a:xfrm>
          <a:prstGeom prst="rect">
            <a:avLst/>
          </a:prstGeom>
        </p:spPr>
      </p:pic>
      <p:sp>
        <p:nvSpPr>
          <p:cNvPr id="60" name="Oval 59">
            <a:extLst>
              <a:ext uri="{FF2B5EF4-FFF2-40B4-BE49-F238E27FC236}">
                <a16:creationId xmlns:a16="http://schemas.microsoft.com/office/drawing/2014/main" id="{3702A6C2-B32B-6E2D-8401-886F64D2A66D}"/>
              </a:ext>
            </a:extLst>
          </p:cNvPr>
          <p:cNvSpPr/>
          <p:nvPr/>
        </p:nvSpPr>
        <p:spPr>
          <a:xfrm>
            <a:off x="945173" y="2432404"/>
            <a:ext cx="316555" cy="31655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19E38D9A-D143-6ABB-B5D6-1E36192C8FDC}"/>
              </a:ext>
            </a:extLst>
          </p:cNvPr>
          <p:cNvSpPr/>
          <p:nvPr/>
        </p:nvSpPr>
        <p:spPr>
          <a:xfrm>
            <a:off x="945173" y="2849163"/>
            <a:ext cx="316555" cy="31655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B253A2D-920C-86EF-12C5-5D77735AE352}"/>
              </a:ext>
            </a:extLst>
          </p:cNvPr>
          <p:cNvSpPr txBox="1"/>
          <p:nvPr/>
        </p:nvSpPr>
        <p:spPr>
          <a:xfrm>
            <a:off x="1311803" y="2426761"/>
            <a:ext cx="20312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i-FI" altLang="en-US" sz="1800">
                <a:solidFill>
                  <a:schemeClr val="tx2"/>
                </a:solidFill>
                <a:cs typeface="+mn-cs"/>
              </a:rPr>
              <a:t>Ammattilaiset</a:t>
            </a:r>
            <a:endParaRPr lang="fi-FI">
              <a:solidFill>
                <a:schemeClr val="tx2"/>
              </a:solidFill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165ABC9-016A-70A7-696A-D229EF2B7A42}"/>
              </a:ext>
            </a:extLst>
          </p:cNvPr>
          <p:cNvSpPr txBox="1"/>
          <p:nvPr/>
        </p:nvSpPr>
        <p:spPr>
          <a:xfrm>
            <a:off x="1311803" y="2843147"/>
            <a:ext cx="20312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i-FI" altLang="en-US" sz="1800">
                <a:solidFill>
                  <a:schemeClr val="tx2"/>
                </a:solidFill>
                <a:cs typeface="+mn-cs"/>
              </a:rPr>
              <a:t>Ikäihmiset</a:t>
            </a:r>
            <a:endParaRPr lang="fi-FI">
              <a:solidFill>
                <a:schemeClr val="tx2"/>
              </a:solidFill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3986E1CF-23B9-DCAD-F930-DCB968AAD7C1}"/>
              </a:ext>
            </a:extLst>
          </p:cNvPr>
          <p:cNvSpPr/>
          <p:nvPr/>
        </p:nvSpPr>
        <p:spPr>
          <a:xfrm>
            <a:off x="945173" y="3265922"/>
            <a:ext cx="316555" cy="316555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AEA6257-62DB-3A5E-6E66-1BC3E281D01D}"/>
              </a:ext>
            </a:extLst>
          </p:cNvPr>
          <p:cNvSpPr txBox="1"/>
          <p:nvPr/>
        </p:nvSpPr>
        <p:spPr>
          <a:xfrm>
            <a:off x="1311803" y="3247509"/>
            <a:ext cx="20312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i-FI" altLang="en-US" sz="1800">
                <a:solidFill>
                  <a:schemeClr val="tx2"/>
                </a:solidFill>
                <a:cs typeface="+mn-cs"/>
              </a:rPr>
              <a:t>Läheiset</a:t>
            </a:r>
            <a:endParaRPr lang="fi-FI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845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A8016D-A3A8-4978-880D-2AE4DC6D8F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5173" y="861647"/>
            <a:ext cx="7353700" cy="1234018"/>
          </a:xfrm>
        </p:spPr>
        <p:txBody>
          <a:bodyPr/>
          <a:lstStyle/>
          <a:p>
            <a:r>
              <a:rPr lang="fi-FI" sz="2800"/>
              <a:t>Opasta pidettiin vähintään melko selkeänä kaikissa vastaajakategorioiss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06CEA0-BC85-1996-A9CB-BFB42A2AB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z="1000">
                <a:solidFill>
                  <a:schemeClr val="tx1"/>
                </a:solidFill>
              </a:rPr>
              <a:t>Oppaan arviointi</a:t>
            </a:r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9FC50E-D2F9-36E4-5B3E-3029E116BD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27</a:t>
            </a:fld>
            <a:endParaRPr lang="fi-FI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5B81170-A94E-E0A6-07D6-303638B7E9BE}"/>
              </a:ext>
            </a:extLst>
          </p:cNvPr>
          <p:cNvCxnSpPr>
            <a:cxnSpLocks/>
          </p:cNvCxnSpPr>
          <p:nvPr/>
        </p:nvCxnSpPr>
        <p:spPr>
          <a:xfrm>
            <a:off x="729820" y="5752784"/>
            <a:ext cx="979578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368BDB34-73DC-D2E4-2BE3-F83F3BC4146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76155" y="1668896"/>
            <a:ext cx="7015296" cy="4523019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1104B35-0EDE-5F3C-265C-0E4C3CAC931B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8997452" y="5951539"/>
            <a:ext cx="1574244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16000" indent="-108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Font typeface="Helvetica" panose="020B0604020202020204" pitchFamily="34" charset="0"/>
              <a:buChar char="-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fi-FI" sz="10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i-FI" altLang="en-US">
                <a:solidFill>
                  <a:schemeClr val="tx2"/>
                </a:solidFill>
                <a:cs typeface="+mn-cs"/>
              </a:rPr>
              <a:t>Erittäin selkeä</a:t>
            </a:r>
            <a:endParaRPr lang="fi-FI">
              <a:solidFill>
                <a:schemeClr val="tx2"/>
              </a:solidFill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E1D387A-9543-ABA7-DE04-866DE9705167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753341" y="5951539"/>
            <a:ext cx="105324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16000" indent="-108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Font typeface="Helvetica" panose="020B0604020202020204" pitchFamily="34" charset="0"/>
              <a:buChar char="-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fi-FI" sz="10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i-FI">
                <a:solidFill>
                  <a:schemeClr val="tx2"/>
                </a:solidFill>
                <a:cs typeface="+mn-cs"/>
              </a:rPr>
              <a:t>Ei selkeä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CAB2E785-3762-8EC8-ACFC-F6368043EAE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400496" y="5951539"/>
            <a:ext cx="159376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16000" indent="-108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Font typeface="Helvetica" panose="020B0604020202020204" pitchFamily="34" charset="0"/>
              <a:buChar char="-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fi-FI" sz="10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i-FI">
                <a:solidFill>
                  <a:schemeClr val="tx2"/>
                </a:solidFill>
                <a:cs typeface="+mn-cs"/>
              </a:rPr>
              <a:t>Ei kovin selkeä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3A70863-58A0-817E-13A4-1766E91D6E7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7091642" y="5951539"/>
            <a:ext cx="1381891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16000" indent="-108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Font typeface="Helvetica" panose="020B0604020202020204" pitchFamily="34" charset="0"/>
              <a:buChar char="-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fi-FI" sz="10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i-FI" altLang="en-US">
                <a:solidFill>
                  <a:schemeClr val="tx2"/>
                </a:solidFill>
                <a:cs typeface="+mn-cs"/>
              </a:rPr>
              <a:t>Hyvin selkeä</a:t>
            </a:r>
            <a:endParaRPr lang="fi-FI">
              <a:solidFill>
                <a:schemeClr val="tx2"/>
              </a:solidFill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B35C13B-B79B-FF5C-4DA2-F1169C42A39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579891" y="5951539"/>
            <a:ext cx="1287724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16000" indent="-108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Font typeface="Helvetica" panose="020B0604020202020204" pitchFamily="34" charset="0"/>
              <a:buChar char="-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fi-FI" sz="10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i-FI" altLang="en-US">
                <a:solidFill>
                  <a:schemeClr val="tx2"/>
                </a:solidFill>
                <a:cs typeface="+mn-cs"/>
              </a:rPr>
              <a:t>Melko selkeä</a:t>
            </a:r>
            <a:endParaRPr lang="fi-FI">
              <a:solidFill>
                <a:schemeClr val="tx2"/>
              </a:solidFill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0F2C1A3-697B-C425-9133-31B3891BE644}"/>
              </a:ext>
            </a:extLst>
          </p:cNvPr>
          <p:cNvSpPr txBox="1"/>
          <p:nvPr/>
        </p:nvSpPr>
        <p:spPr>
          <a:xfrm>
            <a:off x="8188591" y="4404927"/>
            <a:ext cx="3488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 altLang="en-US" sz="1800">
                <a:solidFill>
                  <a:schemeClr val="tx2"/>
                </a:solidFill>
              </a:rPr>
              <a:t>2</a:t>
            </a:r>
            <a:endParaRPr lang="fi-FI">
              <a:solidFill>
                <a:schemeClr val="tx2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69E4BB-3337-255C-A644-BF39287FC691}"/>
              </a:ext>
            </a:extLst>
          </p:cNvPr>
          <p:cNvSpPr txBox="1"/>
          <p:nvPr/>
        </p:nvSpPr>
        <p:spPr>
          <a:xfrm>
            <a:off x="5608353" y="4874605"/>
            <a:ext cx="3488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21340A4-6633-099D-47C3-4B6E01BF320E}"/>
              </a:ext>
            </a:extLst>
          </p:cNvPr>
          <p:cNvSpPr txBox="1"/>
          <p:nvPr/>
        </p:nvSpPr>
        <p:spPr>
          <a:xfrm>
            <a:off x="4428461" y="3058886"/>
            <a:ext cx="3488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 altLang="en-US" sz="1800">
                <a:solidFill>
                  <a:schemeClr val="tx2"/>
                </a:solidFill>
              </a:rPr>
              <a:t>5</a:t>
            </a:r>
            <a:endParaRPr lang="fi-FI">
              <a:solidFill>
                <a:schemeClr val="tx2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A306765-3DCF-5030-4BCD-DD8F6BB94F9D}"/>
              </a:ext>
            </a:extLst>
          </p:cNvPr>
          <p:cNvSpPr txBox="1"/>
          <p:nvPr/>
        </p:nvSpPr>
        <p:spPr>
          <a:xfrm>
            <a:off x="9600932" y="1697941"/>
            <a:ext cx="3488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>
                <a:solidFill>
                  <a:schemeClr val="tx2"/>
                </a:solidFill>
              </a:rPr>
              <a:t>8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6571DFE-E3E8-1F1B-FFCA-87F90701DDB9}"/>
              </a:ext>
            </a:extLst>
          </p:cNvPr>
          <p:cNvSpPr txBox="1"/>
          <p:nvPr/>
        </p:nvSpPr>
        <p:spPr>
          <a:xfrm>
            <a:off x="6984481" y="3526747"/>
            <a:ext cx="3488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 altLang="en-US" sz="1800">
                <a:solidFill>
                  <a:schemeClr val="tx2"/>
                </a:solidFill>
              </a:rPr>
              <a:t>4</a:t>
            </a:r>
            <a:endParaRPr lang="fi-FI">
              <a:solidFill>
                <a:schemeClr val="tx2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962917F-908E-AC2A-52C4-69592741E165}"/>
              </a:ext>
            </a:extLst>
          </p:cNvPr>
          <p:cNvSpPr txBox="1"/>
          <p:nvPr/>
        </p:nvSpPr>
        <p:spPr>
          <a:xfrm>
            <a:off x="5019878" y="3572015"/>
            <a:ext cx="3488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 altLang="en-US" sz="1800">
                <a:solidFill>
                  <a:schemeClr val="tx2"/>
                </a:solidFill>
              </a:rPr>
              <a:t>4</a:t>
            </a:r>
            <a:endParaRPr lang="fi-FI">
              <a:solidFill>
                <a:schemeClr val="tx2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97980AB-3CA4-F1FF-5EDD-EC62506D2E5A}"/>
              </a:ext>
            </a:extLst>
          </p:cNvPr>
          <p:cNvSpPr txBox="1"/>
          <p:nvPr/>
        </p:nvSpPr>
        <p:spPr>
          <a:xfrm>
            <a:off x="7591063" y="3526747"/>
            <a:ext cx="3488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 altLang="en-US" sz="1800">
                <a:solidFill>
                  <a:schemeClr val="tx2"/>
                </a:solidFill>
              </a:rPr>
              <a:t>4</a:t>
            </a:r>
            <a:endParaRPr lang="fi-FI">
              <a:solidFill>
                <a:schemeClr val="tx2"/>
              </a:solidFill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BA83956-8BE5-CBE9-2DC4-69831B979300}"/>
              </a:ext>
            </a:extLst>
          </p:cNvPr>
          <p:cNvSpPr/>
          <p:nvPr/>
        </p:nvSpPr>
        <p:spPr>
          <a:xfrm>
            <a:off x="945173" y="2432404"/>
            <a:ext cx="316555" cy="31655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FA315191-2160-7040-AD21-D8CA9FBC6094}"/>
              </a:ext>
            </a:extLst>
          </p:cNvPr>
          <p:cNvSpPr/>
          <p:nvPr/>
        </p:nvSpPr>
        <p:spPr>
          <a:xfrm>
            <a:off x="945173" y="2849163"/>
            <a:ext cx="316555" cy="31655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34F8500-29B2-9303-D2DB-F4432F2F8CF3}"/>
              </a:ext>
            </a:extLst>
          </p:cNvPr>
          <p:cNvSpPr txBox="1"/>
          <p:nvPr/>
        </p:nvSpPr>
        <p:spPr>
          <a:xfrm>
            <a:off x="1311803" y="2426761"/>
            <a:ext cx="20312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i-FI" altLang="en-US" sz="1800">
                <a:solidFill>
                  <a:schemeClr val="tx2"/>
                </a:solidFill>
                <a:cs typeface="+mn-cs"/>
              </a:rPr>
              <a:t>Ammattilaiset</a:t>
            </a:r>
            <a:endParaRPr lang="fi-FI">
              <a:solidFill>
                <a:schemeClr val="tx2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57BAC1D-E9BF-EE57-A1D1-E20ACAD8D5BF}"/>
              </a:ext>
            </a:extLst>
          </p:cNvPr>
          <p:cNvSpPr txBox="1"/>
          <p:nvPr/>
        </p:nvSpPr>
        <p:spPr>
          <a:xfrm>
            <a:off x="1311803" y="2843147"/>
            <a:ext cx="20312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i-FI" altLang="en-US" sz="1800">
                <a:solidFill>
                  <a:schemeClr val="tx2"/>
                </a:solidFill>
                <a:cs typeface="+mn-cs"/>
              </a:rPr>
              <a:t>Ikäihmiset</a:t>
            </a:r>
            <a:endParaRPr lang="fi-FI">
              <a:solidFill>
                <a:schemeClr val="tx2"/>
              </a:solidFill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D6AEFAE4-05EE-16E2-4314-0B6EFE831A4F}"/>
              </a:ext>
            </a:extLst>
          </p:cNvPr>
          <p:cNvSpPr/>
          <p:nvPr/>
        </p:nvSpPr>
        <p:spPr>
          <a:xfrm>
            <a:off x="945173" y="3265922"/>
            <a:ext cx="316555" cy="316555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EE70EF9-2709-90EE-E8BD-1AD8854A4227}"/>
              </a:ext>
            </a:extLst>
          </p:cNvPr>
          <p:cNvSpPr txBox="1"/>
          <p:nvPr/>
        </p:nvSpPr>
        <p:spPr>
          <a:xfrm>
            <a:off x="1311803" y="3247509"/>
            <a:ext cx="20312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i-FI" altLang="en-US" sz="1800">
                <a:solidFill>
                  <a:schemeClr val="tx2"/>
                </a:solidFill>
                <a:cs typeface="+mn-cs"/>
              </a:rPr>
              <a:t>Läheiset</a:t>
            </a:r>
            <a:endParaRPr lang="fi-FI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251874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A3976B-96EF-5A86-B346-4FD88CD81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z="2800"/>
              <a:t>Pääsääntöisesti kaikissa vastaajakategorioissa oltiin tyytyväisiä oppaassa olevan tiedon määrään</a:t>
            </a:r>
            <a:br>
              <a:rPr lang="fi-FI" sz="2800"/>
            </a:br>
            <a:endParaRPr lang="fi-FI" sz="28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89BAC3-3F9C-86F6-2234-F67C7117F4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z="1000">
                <a:solidFill>
                  <a:schemeClr val="tx1"/>
                </a:solidFill>
              </a:rPr>
              <a:t>Oppaan arviointi</a:t>
            </a:r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58ADB1-5FB6-64AD-4C78-F27364AC73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28</a:t>
            </a:fld>
            <a:endParaRPr lang="fi-FI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922B8CA-B7F8-08F3-71DB-8A2FD8A090F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03742" y="1379815"/>
            <a:ext cx="6997190" cy="4848805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8AD50B3-876E-DA97-CFBF-AEBB23084E49}"/>
              </a:ext>
            </a:extLst>
          </p:cNvPr>
          <p:cNvCxnSpPr>
            <a:cxnSpLocks/>
          </p:cNvCxnSpPr>
          <p:nvPr/>
        </p:nvCxnSpPr>
        <p:spPr>
          <a:xfrm>
            <a:off x="2510149" y="5752784"/>
            <a:ext cx="662494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F7FA9834-D1F9-BA7F-4641-C07EA1346D3B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7606933" y="5951539"/>
            <a:ext cx="1574244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16000" indent="-108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Font typeface="Helvetica" panose="020B0604020202020204" pitchFamily="34" charset="0"/>
              <a:buChar char="-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fi-FI" sz="10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CAC9D0-7CB5-4F15-A7CB-C6E18F4ABD85}" type="datetime'''''Li''''''ikaa'''''''''''''' t''''''''''''''iet''o''a'">
              <a:rPr lang="fi-FI" altLang="en-US" sz="1600" smtClean="0">
                <a:solidFill>
                  <a:schemeClr val="tx2"/>
                </a:solidFill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Liikaa tietoa</a:t>
            </a:fld>
            <a:endParaRPr lang="fi-FI" sz="1600">
              <a:solidFill>
                <a:schemeClr val="tx2"/>
              </a:solidFill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9FB368A-AE52-6EAD-63E7-704FD5CF383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405054" y="5951539"/>
            <a:ext cx="1381891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16000" indent="-108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Font typeface="Helvetica" panose="020B0604020202020204" pitchFamily="34" charset="0"/>
              <a:buChar char="-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fi-FI" sz="10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i-FI" altLang="en-US" sz="1600">
                <a:solidFill>
                  <a:schemeClr val="tx2"/>
                </a:solidFill>
                <a:cs typeface="+mn-cs"/>
              </a:rPr>
              <a:t>Sopivasti tietoa</a:t>
            </a:r>
            <a:endParaRPr lang="fi-FI" sz="1600">
              <a:solidFill>
                <a:schemeClr val="tx2"/>
              </a:solidFill>
              <a:cs typeface="+mn-cs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3727DEA2-77EF-00D7-E889-B8DAF82F575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705385" y="5951539"/>
            <a:ext cx="2084099" cy="3398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16000" indent="-108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Font typeface="Helvetica" panose="020B0604020202020204" pitchFamily="34" charset="0"/>
              <a:buChar char="-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fi-FI" sz="10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i-FI" altLang="en-US" sz="1600">
                <a:solidFill>
                  <a:schemeClr val="tx2"/>
                </a:solidFill>
                <a:cs typeface="+mn-cs"/>
              </a:rPr>
              <a:t>Liian vähän tietoa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B0EC063-561D-4637-2B25-6FA016506576}"/>
              </a:ext>
            </a:extLst>
          </p:cNvPr>
          <p:cNvSpPr txBox="1"/>
          <p:nvPr/>
        </p:nvSpPr>
        <p:spPr>
          <a:xfrm>
            <a:off x="5208045" y="1756467"/>
            <a:ext cx="5798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>
                <a:solidFill>
                  <a:schemeClr val="tx2"/>
                </a:solidFill>
              </a:rPr>
              <a:t>14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4BF16A2-DB36-2E9C-09E3-4CD8BF9E833C}"/>
              </a:ext>
            </a:extLst>
          </p:cNvPr>
          <p:cNvSpPr txBox="1"/>
          <p:nvPr/>
        </p:nvSpPr>
        <p:spPr>
          <a:xfrm>
            <a:off x="2939407" y="5122707"/>
            <a:ext cx="5798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C48B1CA-B62F-2AAE-D6B7-556236CEEA80}"/>
              </a:ext>
            </a:extLst>
          </p:cNvPr>
          <p:cNvSpPr txBox="1"/>
          <p:nvPr/>
        </p:nvSpPr>
        <p:spPr>
          <a:xfrm>
            <a:off x="4166323" y="5122707"/>
            <a:ext cx="5798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EB6513F-C276-8124-C464-1701AC2686D3}"/>
              </a:ext>
            </a:extLst>
          </p:cNvPr>
          <p:cNvSpPr txBox="1"/>
          <p:nvPr/>
        </p:nvSpPr>
        <p:spPr>
          <a:xfrm>
            <a:off x="8101715" y="5122707"/>
            <a:ext cx="5798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75756B2-8456-626D-077E-88148E2B3029}"/>
              </a:ext>
            </a:extLst>
          </p:cNvPr>
          <p:cNvSpPr txBox="1"/>
          <p:nvPr/>
        </p:nvSpPr>
        <p:spPr>
          <a:xfrm>
            <a:off x="5798353" y="3551016"/>
            <a:ext cx="5798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>
                <a:solidFill>
                  <a:schemeClr val="tx2"/>
                </a:solidFill>
              </a:rPr>
              <a:t>7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A34FE70-317C-CDD2-0AB8-281293D0809C}"/>
              </a:ext>
            </a:extLst>
          </p:cNvPr>
          <p:cNvSpPr txBox="1"/>
          <p:nvPr/>
        </p:nvSpPr>
        <p:spPr>
          <a:xfrm>
            <a:off x="6411811" y="4856490"/>
            <a:ext cx="5798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34D98FEE-CF84-4E90-F6CF-870B5155A963}"/>
              </a:ext>
            </a:extLst>
          </p:cNvPr>
          <p:cNvSpPr/>
          <p:nvPr/>
        </p:nvSpPr>
        <p:spPr>
          <a:xfrm>
            <a:off x="945173" y="2432404"/>
            <a:ext cx="316555" cy="31655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5786E54A-DEE2-7F02-8A97-BEBA090122CB}"/>
              </a:ext>
            </a:extLst>
          </p:cNvPr>
          <p:cNvSpPr/>
          <p:nvPr/>
        </p:nvSpPr>
        <p:spPr>
          <a:xfrm>
            <a:off x="945173" y="2849163"/>
            <a:ext cx="316555" cy="31655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D9EA332-4A84-1911-A473-2E78A07989B8}"/>
              </a:ext>
            </a:extLst>
          </p:cNvPr>
          <p:cNvSpPr txBox="1"/>
          <p:nvPr/>
        </p:nvSpPr>
        <p:spPr>
          <a:xfrm>
            <a:off x="1311803" y="2426761"/>
            <a:ext cx="20312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i-FI" altLang="en-US" sz="1800">
                <a:solidFill>
                  <a:schemeClr val="tx2"/>
                </a:solidFill>
                <a:cs typeface="+mn-cs"/>
              </a:rPr>
              <a:t>Ammattilaiset</a:t>
            </a:r>
            <a:endParaRPr lang="fi-FI">
              <a:solidFill>
                <a:schemeClr val="tx2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C21D88C-DBB3-EF52-0C0A-2DC7AD06F3BC}"/>
              </a:ext>
            </a:extLst>
          </p:cNvPr>
          <p:cNvSpPr txBox="1"/>
          <p:nvPr/>
        </p:nvSpPr>
        <p:spPr>
          <a:xfrm>
            <a:off x="1311803" y="2843147"/>
            <a:ext cx="20312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i-FI" altLang="en-US" sz="1800">
                <a:solidFill>
                  <a:schemeClr val="tx2"/>
                </a:solidFill>
                <a:cs typeface="+mn-cs"/>
              </a:rPr>
              <a:t>Ikäihmiset</a:t>
            </a:r>
            <a:endParaRPr lang="fi-FI">
              <a:solidFill>
                <a:schemeClr val="tx2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4DD4B53A-2A00-75D5-3A0A-F61B45A8C3DB}"/>
              </a:ext>
            </a:extLst>
          </p:cNvPr>
          <p:cNvSpPr/>
          <p:nvPr/>
        </p:nvSpPr>
        <p:spPr>
          <a:xfrm>
            <a:off x="945173" y="3265922"/>
            <a:ext cx="316555" cy="316555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C363AC8-6980-7993-806E-ACE187697DA2}"/>
              </a:ext>
            </a:extLst>
          </p:cNvPr>
          <p:cNvSpPr txBox="1"/>
          <p:nvPr/>
        </p:nvSpPr>
        <p:spPr>
          <a:xfrm>
            <a:off x="1311803" y="3247509"/>
            <a:ext cx="20312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i-FI" altLang="en-US" sz="1800">
                <a:solidFill>
                  <a:schemeClr val="tx2"/>
                </a:solidFill>
                <a:cs typeface="+mn-cs"/>
              </a:rPr>
              <a:t>Läheiset</a:t>
            </a:r>
            <a:endParaRPr lang="fi-FI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603537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01D978-1D79-8DAF-B98A-DADEA0C11E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z="2800"/>
              <a:t>Suurin osa vastaajista oli sitä mieltä että tietoa ei jääty kaipaamaan, mutta muutamat aiheet nostettiin esil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7E767B6-2DCB-266D-BAAA-5956BB7DE9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z="1000">
                <a:solidFill>
                  <a:schemeClr val="tx1"/>
                </a:solidFill>
              </a:rPr>
              <a:t>Oppaan arviointi</a:t>
            </a:r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30B926-4BE2-5105-5D35-63D7DF1FE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29</a:t>
            </a:fld>
            <a:endParaRPr lang="fi-FI"/>
          </a:p>
        </p:txBody>
      </p:sp>
      <p:sp>
        <p:nvSpPr>
          <p:cNvPr id="7" name="Suorakulmio 67">
            <a:extLst>
              <a:ext uri="{FF2B5EF4-FFF2-40B4-BE49-F238E27FC236}">
                <a16:creationId xmlns:a16="http://schemas.microsoft.com/office/drawing/2014/main" id="{D4F80B08-30C6-AB3F-680D-DC609124D62E}"/>
              </a:ext>
            </a:extLst>
          </p:cNvPr>
          <p:cNvSpPr/>
          <p:nvPr/>
        </p:nvSpPr>
        <p:spPr>
          <a:xfrm>
            <a:off x="4918364" y="2617082"/>
            <a:ext cx="6215079" cy="3178097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lvl="1">
              <a:spcAft>
                <a:spcPts val="800"/>
              </a:spcAft>
            </a:pPr>
            <a:r>
              <a:rPr lang="fi-FI" sz="2000"/>
              <a:t>Seuraavia aiheista haluttiin lisätietoa:</a:t>
            </a:r>
          </a:p>
          <a:p>
            <a:pPr lvl="1">
              <a:spcAft>
                <a:spcPts val="800"/>
              </a:spcAft>
            </a:pPr>
            <a:r>
              <a:rPr lang="fi-FI" sz="2000" b="1"/>
              <a:t>Ammattilaiset: </a:t>
            </a:r>
            <a:r>
              <a:rPr lang="fi-FI" sz="2000"/>
              <a:t>Korjausneuvonnan yhteystiedot, Virtuaalihoito, etähoito, asiakasmaksujen pienentäminen</a:t>
            </a:r>
          </a:p>
          <a:p>
            <a:pPr lvl="1">
              <a:spcAft>
                <a:spcPts val="800"/>
              </a:spcAft>
            </a:pPr>
            <a:r>
              <a:rPr lang="fi-FI" sz="2000" b="1"/>
              <a:t>Ikäihmiset ja läheiset: </a:t>
            </a:r>
            <a:r>
              <a:rPr lang="fi-FI" sz="2000"/>
              <a:t>Onko olemassa yhteisöllisiä senioriasuntoja? Miksei asumisratkaisuja ole esitelty muualla kuin Kuopion alueella?</a:t>
            </a:r>
          </a:p>
          <a:p>
            <a:pPr lvl="1">
              <a:spcAft>
                <a:spcPts val="800"/>
              </a:spcAft>
            </a:pPr>
            <a:endParaRPr lang="fi-FI" sz="2000"/>
          </a:p>
          <a:p>
            <a:pPr lvl="1">
              <a:spcAft>
                <a:spcPts val="800"/>
              </a:spcAft>
            </a:pPr>
            <a:endParaRPr lang="fi-FI" sz="2000"/>
          </a:p>
        </p:txBody>
      </p:sp>
      <p:pic>
        <p:nvPicPr>
          <p:cNvPr id="10" name="Picture 9" descr="A picture containing yellow, design&#10;&#10;Description automatically generated">
            <a:extLst>
              <a:ext uri="{FF2B5EF4-FFF2-40B4-BE49-F238E27FC236}">
                <a16:creationId xmlns:a16="http://schemas.microsoft.com/office/drawing/2014/main" id="{FB17C271-9499-AD0E-C0EC-20DA31FB73F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635" y="2246682"/>
            <a:ext cx="4822606" cy="3178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9826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A2813E-5398-DC1D-4B29-A77220829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858" y="1915973"/>
            <a:ext cx="10515600" cy="2160000"/>
          </a:xfrm>
        </p:spPr>
        <p:txBody>
          <a:bodyPr/>
          <a:lstStyle/>
          <a:p>
            <a:r>
              <a:rPr lang="fi-FI"/>
              <a:t>Johdanto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4DE259-1340-0467-4638-1575B3A154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461264" y="4421394"/>
            <a:ext cx="7269472" cy="2160000"/>
          </a:xfrm>
        </p:spPr>
        <p:txBody>
          <a:bodyPr/>
          <a:lstStyle/>
          <a:p>
            <a:r>
              <a:rPr lang="fi-FI" sz="1800"/>
              <a:t> Hankkeessa vahvistetaan Pohjois-Savon hyvinvointialueen kuntien yhteistyötä ikääntyneiden asumisen kysymyksissä.​ Opas suunniteltiin ikääntyvien oman varautumisen tueksi. Tavoitteena oli tukea sekä ikäihmisiä että asiakasohjaajia asumisen kysymyksissä. </a:t>
            </a:r>
          </a:p>
          <a:p>
            <a:r>
              <a:rPr lang="fi-FI" sz="1800"/>
              <a:t>Projektin palveluntarjoaja: NHG Finland Oy</a:t>
            </a:r>
          </a:p>
          <a:p>
            <a:endParaRPr lang="fi-FI" sz="18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9021639-5C55-32FE-7B31-BF5B187CEC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pPr/>
              <a:t>3</a:t>
            </a:fld>
            <a:endParaRPr lang="fi-FI"/>
          </a:p>
        </p:txBody>
      </p:sp>
      <p:pic>
        <p:nvPicPr>
          <p:cNvPr id="6" name="Picture 5" descr="A magnifying glass and a house with University of Oregon in the background&#10;&#10;Description automatically generated with medium confidence">
            <a:extLst>
              <a:ext uri="{FF2B5EF4-FFF2-40B4-BE49-F238E27FC236}">
                <a16:creationId xmlns:a16="http://schemas.microsoft.com/office/drawing/2014/main" id="{92B016DA-8AED-5B4D-3753-EA31DE13F72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76320" y="643258"/>
            <a:ext cx="4854416" cy="3223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2034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37525-EE77-12D3-D2DE-237CDF5D8D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5173" y="861647"/>
            <a:ext cx="7649840" cy="1234018"/>
          </a:xfrm>
        </p:spPr>
        <p:txBody>
          <a:bodyPr/>
          <a:lstStyle/>
          <a:p>
            <a:r>
              <a:rPr lang="fi-FI" sz="2800"/>
              <a:t>Oppaan luonnokselle annettiin pääsääntöisesti hyviä arvosanoj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4DE24C1-47AB-A543-CBE0-6645C93162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z="1000">
                <a:solidFill>
                  <a:schemeClr val="tx1"/>
                </a:solidFill>
              </a:rPr>
              <a:t>Oppaan arviointi</a:t>
            </a:r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4603079-F58E-D677-807A-3920987E94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30</a:t>
            </a:fld>
            <a:endParaRPr lang="fi-FI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CE9D7CE-6CF1-CCBB-6213-3954591CB823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9820" y="1581217"/>
            <a:ext cx="10611747" cy="439140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12E82BC-D1B8-7D97-3E43-CC7BAF1E0AA5}"/>
              </a:ext>
            </a:extLst>
          </p:cNvPr>
          <p:cNvCxnSpPr>
            <a:cxnSpLocks/>
          </p:cNvCxnSpPr>
          <p:nvPr/>
        </p:nvCxnSpPr>
        <p:spPr>
          <a:xfrm>
            <a:off x="729820" y="5475684"/>
            <a:ext cx="1054392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8C13576-CBB8-8385-8FD6-B0CCDB700A44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348646" y="5674439"/>
            <a:ext cx="15834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16000" indent="-108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Font typeface="Helvetica" panose="020B0604020202020204" pitchFamily="34" charset="0"/>
              <a:buChar char="-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fi-FI" sz="10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i-FI" altLang="en-US" sz="1600">
                <a:solidFill>
                  <a:schemeClr val="tx2"/>
                </a:solidFill>
                <a:cs typeface="+mn-cs"/>
              </a:rPr>
              <a:t>4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17347FE-F734-CCE6-B4F1-AA8F37711E6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557253" y="5674439"/>
            <a:ext cx="15834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16000" indent="-108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Font typeface="Helvetica" panose="020B0604020202020204" pitchFamily="34" charset="0"/>
              <a:buChar char="-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fi-FI" sz="10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i-FI" altLang="en-US" sz="1600">
                <a:solidFill>
                  <a:schemeClr val="tx2"/>
                </a:solidFill>
                <a:cs typeface="+mn-cs"/>
              </a:rPr>
              <a:t>7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316E5F5-841B-C1A0-B35D-66A30075C16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142985" y="5674439"/>
            <a:ext cx="15834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16000" indent="-108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Font typeface="Helvetica" panose="020B0604020202020204" pitchFamily="34" charset="0"/>
              <a:buChar char="-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fi-FI" sz="10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i-FI" altLang="en-US" sz="1600">
                <a:solidFill>
                  <a:schemeClr val="tx2"/>
                </a:solidFill>
                <a:cs typeface="+mn-cs"/>
              </a:rPr>
              <a:t>8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05F41E1-2C9E-0507-095A-E01E5E16743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763440" y="5674439"/>
            <a:ext cx="15834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16000" indent="-108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Font typeface="Helvetica" panose="020B0604020202020204" pitchFamily="34" charset="0"/>
              <a:buChar char="-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fi-FI" sz="10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i-FI" altLang="en-US" sz="1600">
                <a:solidFill>
                  <a:schemeClr val="tx2"/>
                </a:solidFill>
                <a:cs typeface="+mn-cs"/>
              </a:rPr>
              <a:t>9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FA0E78-AB66-D2D5-5194-0224D1C82F5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0013505" y="5674439"/>
            <a:ext cx="15834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16000" indent="-108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Font typeface="Helvetica" panose="020B0604020202020204" pitchFamily="34" charset="0"/>
              <a:buChar char="-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fi-FI" sz="10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i-FI" altLang="en-US" sz="1600">
                <a:solidFill>
                  <a:schemeClr val="tx2"/>
                </a:solidFill>
                <a:cs typeface="+mn-cs"/>
              </a:rPr>
              <a:t>10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4FC15C1-7166-6C76-0244-781A344287D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775774" y="5674439"/>
            <a:ext cx="15834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16000" indent="-108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Font typeface="Helvetica" panose="020B0604020202020204" pitchFamily="34" charset="0"/>
              <a:buChar char="-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fi-FI" sz="10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i-FI" altLang="en-US" sz="1600">
                <a:solidFill>
                  <a:schemeClr val="tx2"/>
                </a:solidFill>
                <a:cs typeface="+mn-cs"/>
              </a:rPr>
              <a:t>6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5022840-B360-FA4E-3C2C-252AFA26775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051146" y="5674439"/>
            <a:ext cx="15834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16000" indent="-108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chemeClr val="accent1"/>
              </a:buClr>
              <a:buFont typeface="Helvetica" panose="020B0604020202020204" pitchFamily="34" charset="0"/>
              <a:buChar char="-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324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Courier New" panose="02070309020205020404" pitchFamily="49" charset="0"/>
              <a:buChar char="o"/>
              <a:defRPr lang="fi-FI" sz="10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i-FI" altLang="en-US" sz="1600">
                <a:solidFill>
                  <a:schemeClr val="tx2"/>
                </a:solidFill>
                <a:cs typeface="+mn-cs"/>
              </a:rPr>
              <a:t>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0EC7902-9071-DA88-9D8D-2BB907E30602}"/>
              </a:ext>
            </a:extLst>
          </p:cNvPr>
          <p:cNvSpPr txBox="1"/>
          <p:nvPr/>
        </p:nvSpPr>
        <p:spPr>
          <a:xfrm>
            <a:off x="850433" y="4609414"/>
            <a:ext cx="5798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85CEAEE-853F-C89A-CFED-BD16E70B13E9}"/>
              </a:ext>
            </a:extLst>
          </p:cNvPr>
          <p:cNvSpPr txBox="1"/>
          <p:nvPr/>
        </p:nvSpPr>
        <p:spPr>
          <a:xfrm>
            <a:off x="5711801" y="4609414"/>
            <a:ext cx="5798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17950F4-C607-5AB1-41AF-D0AF8D7D9F90}"/>
              </a:ext>
            </a:extLst>
          </p:cNvPr>
          <p:cNvSpPr txBox="1"/>
          <p:nvPr/>
        </p:nvSpPr>
        <p:spPr>
          <a:xfrm>
            <a:off x="6417857" y="4609414"/>
            <a:ext cx="5798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11C04AB-C0DF-500E-DCDB-047678F4742B}"/>
              </a:ext>
            </a:extLst>
          </p:cNvPr>
          <p:cNvSpPr txBox="1"/>
          <p:nvPr/>
        </p:nvSpPr>
        <p:spPr>
          <a:xfrm>
            <a:off x="8015164" y="4609414"/>
            <a:ext cx="5798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D19D9F8-0089-861B-75CB-FEE9EF7BB77C}"/>
              </a:ext>
            </a:extLst>
          </p:cNvPr>
          <p:cNvSpPr txBox="1"/>
          <p:nvPr/>
        </p:nvSpPr>
        <p:spPr>
          <a:xfrm>
            <a:off x="9600896" y="4609414"/>
            <a:ext cx="5798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FB9E177-34FD-F122-FD3F-571697B683BE}"/>
              </a:ext>
            </a:extLst>
          </p:cNvPr>
          <p:cNvSpPr txBox="1"/>
          <p:nvPr/>
        </p:nvSpPr>
        <p:spPr>
          <a:xfrm>
            <a:off x="9207358" y="3753464"/>
            <a:ext cx="5798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54CCEB9-CBC1-896B-8CD5-7C9EB1DEAA59}"/>
              </a:ext>
            </a:extLst>
          </p:cNvPr>
          <p:cNvSpPr txBox="1"/>
          <p:nvPr/>
        </p:nvSpPr>
        <p:spPr>
          <a:xfrm>
            <a:off x="7656350" y="2931662"/>
            <a:ext cx="5798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>
                <a:solidFill>
                  <a:schemeClr val="tx2"/>
                </a:solidFill>
              </a:rPr>
              <a:t>5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22C94E3-84AF-DF3A-D9FB-EAFBAAB6C5C3}"/>
              </a:ext>
            </a:extLst>
          </p:cNvPr>
          <p:cNvSpPr txBox="1"/>
          <p:nvPr/>
        </p:nvSpPr>
        <p:spPr>
          <a:xfrm>
            <a:off x="8871692" y="2028837"/>
            <a:ext cx="5798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>
                <a:solidFill>
                  <a:schemeClr val="tx2"/>
                </a:solidFill>
              </a:rPr>
              <a:t>7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6580B09-DB62-7EB7-866A-CF7B44CEB072}"/>
              </a:ext>
            </a:extLst>
          </p:cNvPr>
          <p:cNvSpPr txBox="1"/>
          <p:nvPr/>
        </p:nvSpPr>
        <p:spPr>
          <a:xfrm>
            <a:off x="10434274" y="3371500"/>
            <a:ext cx="5798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4AD23D7-9EB4-44D7-E887-B46FD4BD95A3}"/>
              </a:ext>
            </a:extLst>
          </p:cNvPr>
          <p:cNvSpPr txBox="1"/>
          <p:nvPr/>
        </p:nvSpPr>
        <p:spPr>
          <a:xfrm>
            <a:off x="7274385" y="3788188"/>
            <a:ext cx="5798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i-FI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2116F7FE-0C38-D79F-8775-48CDD2975E74}"/>
              </a:ext>
            </a:extLst>
          </p:cNvPr>
          <p:cNvSpPr/>
          <p:nvPr/>
        </p:nvSpPr>
        <p:spPr>
          <a:xfrm>
            <a:off x="945173" y="2155304"/>
            <a:ext cx="316555" cy="31655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6AF4AAB3-F64D-D3AD-741F-6E965AC2E2A0}"/>
              </a:ext>
            </a:extLst>
          </p:cNvPr>
          <p:cNvSpPr/>
          <p:nvPr/>
        </p:nvSpPr>
        <p:spPr>
          <a:xfrm>
            <a:off x="945173" y="2572063"/>
            <a:ext cx="316555" cy="31655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A55FB97-E3DC-4C2D-3BBC-57AA72573689}"/>
              </a:ext>
            </a:extLst>
          </p:cNvPr>
          <p:cNvSpPr txBox="1"/>
          <p:nvPr/>
        </p:nvSpPr>
        <p:spPr>
          <a:xfrm>
            <a:off x="1311803" y="2149661"/>
            <a:ext cx="20312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i-FI" altLang="en-US" sz="1800">
                <a:solidFill>
                  <a:schemeClr val="tx2"/>
                </a:solidFill>
                <a:cs typeface="+mn-cs"/>
              </a:rPr>
              <a:t>Ammattilaiset</a:t>
            </a:r>
            <a:endParaRPr lang="fi-FI">
              <a:solidFill>
                <a:schemeClr val="tx2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E4BEB56-BDE3-0384-0912-2FC9A71AC053}"/>
              </a:ext>
            </a:extLst>
          </p:cNvPr>
          <p:cNvSpPr txBox="1"/>
          <p:nvPr/>
        </p:nvSpPr>
        <p:spPr>
          <a:xfrm>
            <a:off x="1311803" y="2566047"/>
            <a:ext cx="20312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i-FI" altLang="en-US" sz="1800">
                <a:solidFill>
                  <a:schemeClr val="tx2"/>
                </a:solidFill>
                <a:cs typeface="+mn-cs"/>
              </a:rPr>
              <a:t>Ikäihmiset</a:t>
            </a:r>
            <a:endParaRPr lang="fi-FI">
              <a:solidFill>
                <a:schemeClr val="tx2"/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E479A119-A66C-197E-D644-5FBD78A42885}"/>
              </a:ext>
            </a:extLst>
          </p:cNvPr>
          <p:cNvSpPr/>
          <p:nvPr/>
        </p:nvSpPr>
        <p:spPr>
          <a:xfrm>
            <a:off x="945173" y="2988822"/>
            <a:ext cx="316555" cy="316555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156B4C2-FEDF-4377-6566-0A09D1EA1241}"/>
              </a:ext>
            </a:extLst>
          </p:cNvPr>
          <p:cNvSpPr txBox="1"/>
          <p:nvPr/>
        </p:nvSpPr>
        <p:spPr>
          <a:xfrm>
            <a:off x="1311803" y="2970409"/>
            <a:ext cx="20312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i-FI" altLang="en-US" sz="1800">
                <a:solidFill>
                  <a:schemeClr val="tx2"/>
                </a:solidFill>
                <a:cs typeface="+mn-cs"/>
              </a:rPr>
              <a:t>Läheiset</a:t>
            </a:r>
            <a:endParaRPr lang="fi-FI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134601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C579AB-09A4-866E-4ABA-CBCC82A79D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>
                <a:latin typeface="Helvetica"/>
                <a:ea typeface="Verdana"/>
                <a:cs typeface="Arial"/>
              </a:rPr>
              <a:t>Opas sai </a:t>
            </a:r>
            <a:r>
              <a:rPr lang="fi-FI"/>
              <a:t>kiitosta selkeydestä, hyvästä luettavuudesta ja esimerkkitapauksist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96513B-8CBF-04B5-A39F-09D4BAFDCB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z="1000">
                <a:solidFill>
                  <a:schemeClr val="tx1"/>
                </a:solidFill>
              </a:rPr>
              <a:t>Oppaan arviointi</a:t>
            </a:r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F0A641-AE1C-AEE8-0D0F-345DF53CBD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31</a:t>
            </a:fld>
            <a:endParaRPr lang="fi-FI"/>
          </a:p>
        </p:txBody>
      </p:sp>
      <p:grpSp>
        <p:nvGrpSpPr>
          <p:cNvPr id="7" name="Ryhmä 81">
            <a:extLst>
              <a:ext uri="{FF2B5EF4-FFF2-40B4-BE49-F238E27FC236}">
                <a16:creationId xmlns:a16="http://schemas.microsoft.com/office/drawing/2014/main" id="{4606DFD7-81DB-8113-7B00-7DEDC858D212}"/>
              </a:ext>
            </a:extLst>
          </p:cNvPr>
          <p:cNvGrpSpPr/>
          <p:nvPr/>
        </p:nvGrpSpPr>
        <p:grpSpPr>
          <a:xfrm>
            <a:off x="4776208" y="2496686"/>
            <a:ext cx="7103261" cy="4531299"/>
            <a:chOff x="8040269" y="1884363"/>
            <a:chExt cx="7103261" cy="4531299"/>
          </a:xfrm>
        </p:grpSpPr>
        <p:sp>
          <p:nvSpPr>
            <p:cNvPr id="8" name="Suorakulmio 67">
              <a:extLst>
                <a:ext uri="{FF2B5EF4-FFF2-40B4-BE49-F238E27FC236}">
                  <a16:creationId xmlns:a16="http://schemas.microsoft.com/office/drawing/2014/main" id="{869D9673-D49A-0788-F0F1-568F2CB38E2E}"/>
                </a:ext>
              </a:extLst>
            </p:cNvPr>
            <p:cNvSpPr/>
            <p:nvPr/>
          </p:nvSpPr>
          <p:spPr>
            <a:xfrm>
              <a:off x="8040269" y="1884363"/>
              <a:ext cx="7103261" cy="4531299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t">
              <a:noAutofit/>
            </a:bodyPr>
            <a:lstStyle/>
            <a:p>
              <a:pPr lvl="1">
                <a:spcAft>
                  <a:spcPts val="800"/>
                </a:spcAft>
              </a:pPr>
              <a:r>
                <a:rPr lang="fi-FI"/>
                <a:t>Selkeydestä ja ryhmittelystä</a:t>
              </a:r>
            </a:p>
            <a:p>
              <a:pPr lvl="1">
                <a:spcAft>
                  <a:spcPts val="800"/>
                </a:spcAft>
              </a:pPr>
              <a:r>
                <a:rPr lang="fi-FI"/>
                <a:t>Sivujen asiamäärän riittävästä vähyydestä</a:t>
              </a:r>
            </a:p>
            <a:p>
              <a:pPr lvl="1">
                <a:spcAft>
                  <a:spcPts val="800"/>
                </a:spcAft>
              </a:pPr>
              <a:r>
                <a:rPr lang="fi-FI"/>
                <a:t>Hyvästä luettavuudesta ja riittävän isosta tekstin koosta</a:t>
              </a:r>
            </a:p>
            <a:p>
              <a:pPr lvl="1">
                <a:spcAft>
                  <a:spcPts val="800"/>
                </a:spcAft>
              </a:pPr>
              <a:r>
                <a:rPr lang="fi-FI"/>
                <a:t>Visuaalisuudesta: värien ja kuvien käytöstä sekä tekstin ja kuvien sopiva suhde</a:t>
              </a:r>
            </a:p>
            <a:p>
              <a:pPr lvl="1">
                <a:spcAft>
                  <a:spcPts val="800"/>
                </a:spcAft>
              </a:pPr>
              <a:r>
                <a:rPr lang="fi-FI"/>
                <a:t>Tarinoista, jotka auttoivat ymmärtämään ja hahmottamaan omaa tilannetta sekä asteikoista eri asumisvaihtoehtojen esittelyssä (onnistuvat kuvaamaan hyvin eri vaihtoehtojen ominaisuuksia)</a:t>
              </a:r>
            </a:p>
            <a:p>
              <a:pPr lvl="1">
                <a:spcAft>
                  <a:spcPts val="800"/>
                </a:spcAft>
              </a:pPr>
              <a:r>
                <a:rPr lang="fi-FI"/>
                <a:t>Olennaisten asioiden esille tuomisesta</a:t>
              </a:r>
            </a:p>
            <a:p>
              <a:pPr lvl="1">
                <a:spcAft>
                  <a:spcPts val="800"/>
                </a:spcAft>
              </a:pPr>
              <a:r>
                <a:rPr lang="fi-FI"/>
                <a:t>Yhteydenotto-ohjeista ja puhelinnumeroista nettisivujen lisäksi</a:t>
              </a:r>
            </a:p>
            <a:p>
              <a:pPr lvl="1">
                <a:spcAft>
                  <a:spcPts val="800"/>
                </a:spcAft>
              </a:pPr>
              <a:r>
                <a:rPr lang="fi-FI"/>
                <a:t>Linkkien runsaudesta ja lisätiedon lähteelle ohjaamisesta</a:t>
              </a:r>
            </a:p>
            <a:p>
              <a:pPr lvl="1">
                <a:spcAft>
                  <a:spcPts val="800"/>
                </a:spcAft>
              </a:pPr>
              <a:endParaRPr lang="fi-FI"/>
            </a:p>
            <a:p>
              <a:pPr lvl="1">
                <a:spcAft>
                  <a:spcPts val="800"/>
                </a:spcAft>
              </a:pPr>
              <a:endParaRPr lang="fi-FI"/>
            </a:p>
          </p:txBody>
        </p:sp>
        <p:grpSp>
          <p:nvGrpSpPr>
            <p:cNvPr id="9" name="Ryhmä 80">
              <a:extLst>
                <a:ext uri="{FF2B5EF4-FFF2-40B4-BE49-F238E27FC236}">
                  <a16:creationId xmlns:a16="http://schemas.microsoft.com/office/drawing/2014/main" id="{5E9DC167-72E7-BBF3-CAA3-FC3A7BCE1550}"/>
                </a:ext>
              </a:extLst>
            </p:cNvPr>
            <p:cNvGrpSpPr/>
            <p:nvPr/>
          </p:nvGrpSpPr>
          <p:grpSpPr>
            <a:xfrm>
              <a:off x="8121820" y="1911284"/>
              <a:ext cx="304908" cy="2990329"/>
              <a:chOff x="8121820" y="1911284"/>
              <a:chExt cx="304908" cy="2990329"/>
            </a:xfrm>
          </p:grpSpPr>
          <p:pic>
            <p:nvPicPr>
              <p:cNvPr id="10" name="Kuva 70" descr="Valintamerkki tasaisella täytöllä">
                <a:extLst>
                  <a:ext uri="{FF2B5EF4-FFF2-40B4-BE49-F238E27FC236}">
                    <a16:creationId xmlns:a16="http://schemas.microsoft.com/office/drawing/2014/main" id="{EF32C3EE-21A3-ABC2-5938-73A9AE3F61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121820" y="1911284"/>
                <a:ext cx="304908" cy="304908"/>
              </a:xfrm>
              <a:prstGeom prst="rect">
                <a:avLst/>
              </a:prstGeom>
            </p:spPr>
          </p:pic>
          <p:pic>
            <p:nvPicPr>
              <p:cNvPr id="11" name="Kuva 71" descr="Valintamerkki tasaisella täytöllä">
                <a:extLst>
                  <a:ext uri="{FF2B5EF4-FFF2-40B4-BE49-F238E27FC236}">
                    <a16:creationId xmlns:a16="http://schemas.microsoft.com/office/drawing/2014/main" id="{60CBDF24-E02E-2864-4A3C-D618CCFB74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121820" y="2291943"/>
                <a:ext cx="304908" cy="304908"/>
              </a:xfrm>
              <a:prstGeom prst="rect">
                <a:avLst/>
              </a:prstGeom>
            </p:spPr>
          </p:pic>
          <p:pic>
            <p:nvPicPr>
              <p:cNvPr id="12" name="Kuva 72" descr="Valintamerkki tasaisella täytöllä">
                <a:extLst>
                  <a:ext uri="{FF2B5EF4-FFF2-40B4-BE49-F238E27FC236}">
                    <a16:creationId xmlns:a16="http://schemas.microsoft.com/office/drawing/2014/main" id="{DD91E0F1-887A-454B-A8BE-3E0CBFF5EA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121820" y="2682699"/>
                <a:ext cx="304908" cy="304908"/>
              </a:xfrm>
              <a:prstGeom prst="rect">
                <a:avLst/>
              </a:prstGeom>
            </p:spPr>
          </p:pic>
          <p:pic>
            <p:nvPicPr>
              <p:cNvPr id="13" name="Kuva 73" descr="Valintamerkki tasaisella täytöllä">
                <a:extLst>
                  <a:ext uri="{FF2B5EF4-FFF2-40B4-BE49-F238E27FC236}">
                    <a16:creationId xmlns:a16="http://schemas.microsoft.com/office/drawing/2014/main" id="{E4C1302D-1B87-43AB-F392-BC8ED97848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121820" y="3056428"/>
                <a:ext cx="304908" cy="304908"/>
              </a:xfrm>
              <a:prstGeom prst="rect">
                <a:avLst/>
              </a:prstGeom>
            </p:spPr>
          </p:pic>
          <p:pic>
            <p:nvPicPr>
              <p:cNvPr id="14" name="Kuva 74" descr="Valintamerkki tasaisella täytöllä">
                <a:extLst>
                  <a:ext uri="{FF2B5EF4-FFF2-40B4-BE49-F238E27FC236}">
                    <a16:creationId xmlns:a16="http://schemas.microsoft.com/office/drawing/2014/main" id="{1B838E11-C1AB-AF14-EA2E-9B6D244420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121820" y="3690536"/>
                <a:ext cx="304908" cy="304908"/>
              </a:xfrm>
              <a:prstGeom prst="rect">
                <a:avLst/>
              </a:prstGeom>
            </p:spPr>
          </p:pic>
          <p:pic>
            <p:nvPicPr>
              <p:cNvPr id="15" name="Kuva 77" descr="Valintamerkki tasaisella täytöllä">
                <a:extLst>
                  <a:ext uri="{FF2B5EF4-FFF2-40B4-BE49-F238E27FC236}">
                    <a16:creationId xmlns:a16="http://schemas.microsoft.com/office/drawing/2014/main" id="{64469A69-98CD-62F3-3833-0E14E3ED9E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121820" y="4596705"/>
                <a:ext cx="304908" cy="304908"/>
              </a:xfrm>
              <a:prstGeom prst="rect">
                <a:avLst/>
              </a:prstGeom>
            </p:spPr>
          </p:pic>
        </p:grpSp>
      </p:grpSp>
      <p:pic>
        <p:nvPicPr>
          <p:cNvPr id="16" name="Kuva 15" descr="Valintamerkki tasaisella täytöllä">
            <a:extLst>
              <a:ext uri="{FF2B5EF4-FFF2-40B4-BE49-F238E27FC236}">
                <a16:creationId xmlns:a16="http://schemas.microsoft.com/office/drawing/2014/main" id="{941F23A8-C324-474B-9CB1-5480CFA1774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57705" y="5583386"/>
            <a:ext cx="304908" cy="304908"/>
          </a:xfrm>
          <a:prstGeom prst="rect">
            <a:avLst/>
          </a:prstGeom>
        </p:spPr>
      </p:pic>
      <p:pic>
        <p:nvPicPr>
          <p:cNvPr id="18" name="Kuva 15" descr="Valintamerkki tasaisella täytöllä">
            <a:extLst>
              <a:ext uri="{FF2B5EF4-FFF2-40B4-BE49-F238E27FC236}">
                <a16:creationId xmlns:a16="http://schemas.microsoft.com/office/drawing/2014/main" id="{D1DA5A79-89BB-EFD0-6220-E286A5ECD2D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57705" y="5953775"/>
            <a:ext cx="304908" cy="304908"/>
          </a:xfrm>
          <a:prstGeom prst="rect">
            <a:avLst/>
          </a:prstGeom>
        </p:spPr>
      </p:pic>
      <p:pic>
        <p:nvPicPr>
          <p:cNvPr id="19" name="Picture 18" descr="A picture containing clipart, graphics, graphic design, illustration&#10;&#10;Description automatically generated">
            <a:extLst>
              <a:ext uri="{FF2B5EF4-FFF2-40B4-BE49-F238E27FC236}">
                <a16:creationId xmlns:a16="http://schemas.microsoft.com/office/drawing/2014/main" id="{088B5DFC-3FA5-3C74-3B5A-8D502AEEB5A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89187" y="2187942"/>
            <a:ext cx="5059626" cy="4128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51669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C579AB-09A4-866E-4ABA-CBCC82A79D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>
                <a:latin typeface="Helvetica"/>
                <a:ea typeface="Verdana"/>
                <a:cs typeface="Arial"/>
              </a:rPr>
              <a:t>Parannusehdotuksia ikäihmisiltä ja läheisiltä</a:t>
            </a:r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96513B-8CBF-04B5-A39F-09D4BAFDCB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z="1000">
                <a:solidFill>
                  <a:schemeClr val="tx1"/>
                </a:solidFill>
              </a:rPr>
              <a:t>Oppaan arviointi</a:t>
            </a:r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F0A641-AE1C-AEE8-0D0F-345DF53CBD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32</a:t>
            </a:fld>
            <a:endParaRPr lang="fi-FI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A11D751-30E6-391D-7F5D-E34CA9124EF7}"/>
              </a:ext>
            </a:extLst>
          </p:cNvPr>
          <p:cNvSpPr txBox="1"/>
          <p:nvPr/>
        </p:nvSpPr>
        <p:spPr>
          <a:xfrm>
            <a:off x="4213566" y="2131353"/>
            <a:ext cx="7341125" cy="39087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>
              <a:spcAft>
                <a:spcPts val="800"/>
              </a:spcAft>
            </a:pPr>
            <a:r>
              <a:rPr lang="fi-FI" sz="1600" b="1"/>
              <a:t>Opas on pitkä ja tietoa on paljon: </a:t>
            </a:r>
            <a:r>
              <a:rPr lang="fi-FI" sz="1600"/>
              <a:t>Lyhyempi pituus olisi suositeltavaa. </a:t>
            </a:r>
          </a:p>
          <a:p>
            <a:pPr lvl="1">
              <a:spcAft>
                <a:spcPts val="800"/>
              </a:spcAft>
            </a:pPr>
            <a:r>
              <a:rPr lang="fi-FI" sz="1600" b="1"/>
              <a:t>Tietojen päivittyminen: </a:t>
            </a:r>
            <a:r>
              <a:rPr lang="fi-FI" sz="1600"/>
              <a:t>Oppaaseen on hyvä kirjata, millä aikavälillä oppaan tietoja päivitetään. Helpottaa ajantasaisuuden arviointia.</a:t>
            </a:r>
          </a:p>
          <a:p>
            <a:pPr lvl="1">
              <a:spcAft>
                <a:spcPts val="800"/>
              </a:spcAft>
            </a:pPr>
            <a:r>
              <a:rPr lang="fi-FI" sz="1600" b="1"/>
              <a:t>Myös muut kuin internetlähteet ja linkit ovat tärkeitä: </a:t>
            </a:r>
            <a:r>
              <a:rPr lang="fi-FI" sz="1600"/>
              <a:t>Kaikki ikäihmiset eivät käytä nettiä. </a:t>
            </a:r>
          </a:p>
          <a:p>
            <a:pPr lvl="1">
              <a:spcAft>
                <a:spcPts val="800"/>
              </a:spcAft>
            </a:pPr>
            <a:r>
              <a:rPr lang="fi-FI" sz="1600" b="1"/>
              <a:t>Oikoluku: </a:t>
            </a:r>
            <a:r>
              <a:rPr lang="fi-FI" sz="1600"/>
              <a:t>Tekstissä on vielä joitain kirjoitusvirheitä.</a:t>
            </a:r>
          </a:p>
          <a:p>
            <a:pPr lvl="1">
              <a:spcAft>
                <a:spcPts val="800"/>
              </a:spcAft>
            </a:pPr>
            <a:r>
              <a:rPr lang="fi-FI" sz="1600" b="1"/>
              <a:t>Sisältö näyttäytyy </a:t>
            </a:r>
            <a:r>
              <a:rPr lang="fi-FI" sz="1600" b="1" err="1"/>
              <a:t>kuopiokeskeiseltä</a:t>
            </a:r>
            <a:r>
              <a:rPr lang="fi-FI" sz="1600" b="1"/>
              <a:t>: </a:t>
            </a:r>
            <a:r>
              <a:rPr lang="fi-FI" sz="1600"/>
              <a:t>Asumismuotojen vaihtoehtojen esittely on hyvin kaupunkikeskeistä. </a:t>
            </a:r>
          </a:p>
          <a:p>
            <a:pPr lvl="1">
              <a:spcAft>
                <a:spcPts val="800"/>
              </a:spcAft>
            </a:pPr>
            <a:r>
              <a:rPr lang="fi-FI" sz="1600" b="1"/>
              <a:t>Sosiaaliset tarpeet: </a:t>
            </a:r>
            <a:r>
              <a:rPr lang="fi-FI" sz="1600"/>
              <a:t>Ikäihmisillä on myös sosiaalisia tarpeita ja ongelmia. Voisiko näistä mainita oppaassa jotenkin?</a:t>
            </a:r>
          </a:p>
          <a:p>
            <a:pPr lvl="1">
              <a:spcAft>
                <a:spcPts val="800"/>
              </a:spcAft>
            </a:pPr>
            <a:r>
              <a:rPr lang="fi-FI" sz="1600" b="1"/>
              <a:t>Vinkkiehdotus: </a:t>
            </a:r>
            <a:r>
              <a:rPr lang="fi-FI" sz="1600"/>
              <a:t>Sote-alan ammattilaiselta voi pyytää arviointikäynnin kotiin. Ammattilainen osaa katsoa kodin vaaran paikat ja arvioida apuvälineen tarpeen.</a:t>
            </a:r>
          </a:p>
        </p:txBody>
      </p:sp>
      <p:pic>
        <p:nvPicPr>
          <p:cNvPr id="29" name="Picture 28" descr="A blue and white stairs in a yellow circle&#10;&#10;Description automatically generated with low confidence">
            <a:extLst>
              <a:ext uri="{FF2B5EF4-FFF2-40B4-BE49-F238E27FC236}">
                <a16:creationId xmlns:a16="http://schemas.microsoft.com/office/drawing/2014/main" id="{375D794E-CE20-DE44-6C25-06220B0E93A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491" y="1952827"/>
            <a:ext cx="4215231" cy="4265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80342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EEB28FB-F2A7-9115-8450-F90F9DAE5E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pPr/>
              <a:t>33</a:t>
            </a:fld>
            <a:endParaRPr lang="fi-FI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C1BDB34-9879-D813-A596-B28B45370543}"/>
              </a:ext>
            </a:extLst>
          </p:cNvPr>
          <p:cNvSpPr txBox="1">
            <a:spLocks/>
          </p:cNvSpPr>
          <p:nvPr/>
        </p:nvSpPr>
        <p:spPr>
          <a:xfrm>
            <a:off x="570368" y="1079779"/>
            <a:ext cx="4882027" cy="506552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3237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i-FI" sz="3500">
                <a:solidFill>
                  <a:schemeClr val="bg1"/>
                </a:solidFill>
                <a:latin typeface="Helvetica" pitchFamily="2" charset="0"/>
              </a:rPr>
              <a:t>Arviointia jatkettiin kyselyn jälkeen </a:t>
            </a:r>
            <a:r>
              <a:rPr lang="fi-FI" sz="3500" err="1">
                <a:solidFill>
                  <a:schemeClr val="bg1"/>
                </a:solidFill>
                <a:latin typeface="Helvetica" pitchFamily="2" charset="0"/>
              </a:rPr>
              <a:t>Teams</a:t>
            </a:r>
            <a:r>
              <a:rPr lang="fi-FI" sz="3500">
                <a:solidFill>
                  <a:schemeClr val="bg1"/>
                </a:solidFill>
                <a:latin typeface="Helvetica" pitchFamily="2" charset="0"/>
              </a:rPr>
              <a:t>-tilaisuuksissa </a:t>
            </a:r>
          </a:p>
          <a:p>
            <a:endParaRPr lang="fi-FI" sz="3500" b="0">
              <a:solidFill>
                <a:schemeClr val="bg1"/>
              </a:solidFill>
              <a:latin typeface="Helvetica" pitchFamily="2" charset="0"/>
            </a:endParaRPr>
          </a:p>
          <a:p>
            <a:r>
              <a:rPr lang="fi-FI" sz="2000" b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s</a:t>
            </a:r>
            <a:r>
              <a:rPr lang="fi-FI" sz="200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tilaisuudessa esiteltiin kyselyn tuloksia sekä käytiin opasta läpi ikäihmisten ja asiakasohjaajien kanssa. Molemmille ryhmille järjestettiin omat tunnin mittaiset tapaamiset 15.5. </a:t>
            </a:r>
          </a:p>
          <a:p>
            <a:endParaRPr lang="fi-FI" sz="2000" b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fi-FI" sz="200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eskustelun kautta tarkennettiin kyselyssä ilmenneitä muutostoiveita, kerättiin vinkkejä sekä keskusteltiin oppaan tulevaisuudesta.</a:t>
            </a:r>
          </a:p>
          <a:p>
            <a:endParaRPr lang="fi-FI" sz="2000" b="0">
              <a:solidFill>
                <a:schemeClr val="bg1"/>
              </a:solidFill>
              <a:latin typeface="Helvetica" pitchFamily="2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E1E4DCD-76FD-4B81-96EC-98D825D9A4EA}"/>
              </a:ext>
            </a:extLst>
          </p:cNvPr>
          <p:cNvSpPr/>
          <p:nvPr/>
        </p:nvSpPr>
        <p:spPr>
          <a:xfrm>
            <a:off x="8773898" y="2795234"/>
            <a:ext cx="2396663" cy="239666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0000"/>
              </a:lnSpc>
            </a:pPr>
            <a:r>
              <a:rPr lang="fi-FI" sz="7000" b="1">
                <a:solidFill>
                  <a:schemeClr val="tx1"/>
                </a:solidFill>
              </a:rPr>
              <a:t>4</a:t>
            </a:r>
            <a:r>
              <a:rPr lang="fi-FI" sz="2000" b="1">
                <a:solidFill>
                  <a:schemeClr val="tx1"/>
                </a:solidFill>
              </a:rPr>
              <a:t> </a:t>
            </a:r>
            <a:r>
              <a:rPr lang="fi-FI" b="1">
                <a:solidFill>
                  <a:schemeClr val="tx1"/>
                </a:solidFill>
              </a:rPr>
              <a:t>ikäihmistä</a:t>
            </a:r>
          </a:p>
        </p:txBody>
      </p:sp>
      <p:pic>
        <p:nvPicPr>
          <p:cNvPr id="10" name="Picture 9" descr="A picture containing clipart, graphics, symbol, cartoon&#10;&#10;Description automatically generated">
            <a:extLst>
              <a:ext uri="{FF2B5EF4-FFF2-40B4-BE49-F238E27FC236}">
                <a16:creationId xmlns:a16="http://schemas.microsoft.com/office/drawing/2014/main" id="{2971C4D4-2A8E-0D8C-9F87-C4D2CEF6E06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2795234"/>
            <a:ext cx="3166139" cy="3166139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8077A01E-D256-6E59-34CE-67EFD80B62FC}"/>
              </a:ext>
            </a:extLst>
          </p:cNvPr>
          <p:cNvSpPr/>
          <p:nvPr/>
        </p:nvSpPr>
        <p:spPr>
          <a:xfrm>
            <a:off x="6533235" y="887275"/>
            <a:ext cx="2396663" cy="239666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0000"/>
              </a:lnSpc>
            </a:pPr>
            <a:r>
              <a:rPr lang="fi-FI" sz="7000" b="1">
                <a:solidFill>
                  <a:schemeClr val="tx1"/>
                </a:solidFill>
              </a:rPr>
              <a:t>15</a:t>
            </a:r>
            <a:r>
              <a:rPr lang="fi-FI" sz="2000" b="1">
                <a:solidFill>
                  <a:schemeClr val="tx1"/>
                </a:solidFill>
              </a:rPr>
              <a:t> </a:t>
            </a:r>
            <a:r>
              <a:rPr lang="fi-FI" b="1">
                <a:solidFill>
                  <a:schemeClr val="tx1"/>
                </a:solidFill>
              </a:rPr>
              <a:t>asiakas-ohjaajaa</a:t>
            </a:r>
          </a:p>
        </p:txBody>
      </p:sp>
    </p:spTree>
    <p:extLst>
      <p:ext uri="{BB962C8B-B14F-4D97-AF65-F5344CB8AC3E}">
        <p14:creationId xmlns:p14="http://schemas.microsoft.com/office/powerpoint/2010/main" val="185281966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A2813E-5398-DC1D-4B29-A77220829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858" y="2838292"/>
            <a:ext cx="10515600" cy="2160000"/>
          </a:xfrm>
        </p:spPr>
        <p:txBody>
          <a:bodyPr/>
          <a:lstStyle/>
          <a:p>
            <a:r>
              <a:rPr lang="fi-FI" sz="4400">
                <a:solidFill>
                  <a:schemeClr val="tx1"/>
                </a:solidFill>
              </a:rPr>
              <a:t>Työn tulokset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4DE259-1340-0467-4638-1575B3A154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461264" y="5236597"/>
            <a:ext cx="7269472" cy="2160000"/>
          </a:xfrm>
        </p:spPr>
        <p:txBody>
          <a:bodyPr/>
          <a:lstStyle/>
          <a:p>
            <a:pPr marL="0" indent="0">
              <a:buNone/>
            </a:pPr>
            <a:r>
              <a:rPr lang="fi-FI" sz="1600"/>
              <a:t>Oppaasta toteutettiin 44-sivuinen painettu opas, pdf-tiedosto verkossa jaettavaksi sekä suunnitelma nettioppaasta. Painettu opas jaetaan postitse ilmaisjakeluna ikäihmisten koteihi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9021639-5C55-32FE-7B31-BF5B187CEC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pPr/>
              <a:t>34</a:t>
            </a:fld>
            <a:endParaRPr lang="fi-FI"/>
          </a:p>
        </p:txBody>
      </p:sp>
      <p:pic>
        <p:nvPicPr>
          <p:cNvPr id="7" name="Picture 6" descr="A cartoon of a person sitting in a yellow chair&#10;&#10;Description automatically generated">
            <a:extLst>
              <a:ext uri="{FF2B5EF4-FFF2-40B4-BE49-F238E27FC236}">
                <a16:creationId xmlns:a16="http://schemas.microsoft.com/office/drawing/2014/main" id="{A278710F-D351-5A63-4FB1-CAD338D2A2F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5912" y="435129"/>
            <a:ext cx="3240175" cy="3616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13475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B3A0EC1-6A66-5E5C-E545-95392A5682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pPr/>
              <a:t>35</a:t>
            </a:fld>
            <a:endParaRPr lang="fi-FI"/>
          </a:p>
        </p:txBody>
      </p:sp>
      <p:pic>
        <p:nvPicPr>
          <p:cNvPr id="4" name="Picture 3" descr="A cartoon of a person reading a book&#10;&#10;Description automatically generated with medium confidence">
            <a:extLst>
              <a:ext uri="{FF2B5EF4-FFF2-40B4-BE49-F238E27FC236}">
                <a16:creationId xmlns:a16="http://schemas.microsoft.com/office/drawing/2014/main" id="{2A991172-603E-E93A-5866-1FFE8C8C5BB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700000">
            <a:off x="9640820" y="-32677"/>
            <a:ext cx="3370127" cy="4782858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A2D0108-6299-CD0A-3DCB-B9BC4A33AF17}"/>
              </a:ext>
            </a:extLst>
          </p:cNvPr>
          <p:cNvSpPr txBox="1">
            <a:spLocks/>
          </p:cNvSpPr>
          <p:nvPr/>
        </p:nvSpPr>
        <p:spPr>
          <a:xfrm>
            <a:off x="418358" y="4520261"/>
            <a:ext cx="3037536" cy="19585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i-FI" sz="1600">
                <a:solidFill>
                  <a:schemeClr val="bg1"/>
                </a:solidFill>
                <a:latin typeface="+mn-lt"/>
              </a:rPr>
              <a:t>Opas sisältää tietoa; ennakoinnista, apuvälineistä, asumisvaihtoehdoista, kotiin saatavista palveluista, taloudellisesta tuesta sekä yhteystiedoista ja lisälukemisesta.</a:t>
            </a:r>
          </a:p>
        </p:txBody>
      </p:sp>
      <p:pic>
        <p:nvPicPr>
          <p:cNvPr id="6" name="Picture 5" descr="A picture containing text, screenshot, design&#10;&#10;Description automatically generated">
            <a:extLst>
              <a:ext uri="{FF2B5EF4-FFF2-40B4-BE49-F238E27FC236}">
                <a16:creationId xmlns:a16="http://schemas.microsoft.com/office/drawing/2014/main" id="{4F23A6C0-0528-A004-E141-45813BFA7BD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700000">
            <a:off x="6660781" y="2716812"/>
            <a:ext cx="3400379" cy="4811965"/>
          </a:xfrm>
          <a:prstGeom prst="rect">
            <a:avLst/>
          </a:prstGeom>
        </p:spPr>
      </p:pic>
      <p:pic>
        <p:nvPicPr>
          <p:cNvPr id="7" name="Picture 6" descr="A person sitting in a chair&#10;&#10;Description automatically generated with medium confidence">
            <a:extLst>
              <a:ext uri="{FF2B5EF4-FFF2-40B4-BE49-F238E27FC236}">
                <a16:creationId xmlns:a16="http://schemas.microsoft.com/office/drawing/2014/main" id="{1397F2F5-349C-6D0B-F4B2-735523F4BFA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700000">
            <a:off x="2961378" y="745894"/>
            <a:ext cx="3401669" cy="4834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05438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97CD46-71E5-6F86-1ED8-DE1D7242D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pPr/>
              <a:t>36</a:t>
            </a:fld>
            <a:endParaRPr lang="fi-FI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F8C63BA-F6DC-1DBC-25F7-1837585C4E52}"/>
              </a:ext>
            </a:extLst>
          </p:cNvPr>
          <p:cNvSpPr txBox="1">
            <a:spLocks/>
          </p:cNvSpPr>
          <p:nvPr/>
        </p:nvSpPr>
        <p:spPr>
          <a:xfrm>
            <a:off x="418358" y="4580372"/>
            <a:ext cx="2900886" cy="19585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i-FI" sz="1600">
                <a:solidFill>
                  <a:schemeClr val="bg1"/>
                </a:solidFill>
                <a:latin typeface="+mn-lt"/>
              </a:rPr>
              <a:t>Asumisvaihtoehtoja esitellään selkeän kuvailun sekä tarinoiden kautta. Jokaisessa vaihtoehdossa on myös tietoa miten kannattaa toimi tai mistä asumiskohteita löytyy. </a:t>
            </a:r>
          </a:p>
        </p:txBody>
      </p:sp>
      <p:pic>
        <p:nvPicPr>
          <p:cNvPr id="5" name="Picture 4" descr="A picture containing text, font, screenshot, letter&#10;&#10;Description automatically generated">
            <a:extLst>
              <a:ext uri="{FF2B5EF4-FFF2-40B4-BE49-F238E27FC236}">
                <a16:creationId xmlns:a16="http://schemas.microsoft.com/office/drawing/2014/main" id="{1F367A1F-5A4B-224E-880E-D547A720C7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0707736">
            <a:off x="8029547" y="-302820"/>
            <a:ext cx="4159569" cy="5893751"/>
          </a:xfrm>
          <a:prstGeom prst="rect">
            <a:avLst/>
          </a:prstGeom>
        </p:spPr>
      </p:pic>
      <p:pic>
        <p:nvPicPr>
          <p:cNvPr id="6" name="Picture 5" descr="A picture containing text, human face, clothing, illustration&#10;&#10;Description automatically generated">
            <a:extLst>
              <a:ext uri="{FF2B5EF4-FFF2-40B4-BE49-F238E27FC236}">
                <a16:creationId xmlns:a16="http://schemas.microsoft.com/office/drawing/2014/main" id="{2D87DB54-EAF8-3EF1-28A6-44A7AAB1F3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707736">
            <a:off x="4005729" y="778054"/>
            <a:ext cx="4163432" cy="5893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09243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97CD46-71E5-6F86-1ED8-DE1D7242D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pPr/>
              <a:t>37</a:t>
            </a:fld>
            <a:endParaRPr lang="fi-FI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2FB89145-00F4-6735-F2CB-084A56A619BB}"/>
              </a:ext>
            </a:extLst>
          </p:cNvPr>
          <p:cNvSpPr txBox="1">
            <a:spLocks/>
          </p:cNvSpPr>
          <p:nvPr/>
        </p:nvSpPr>
        <p:spPr>
          <a:xfrm>
            <a:off x="8755533" y="572965"/>
            <a:ext cx="3131667" cy="19585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i-FI" sz="1600">
                <a:solidFill>
                  <a:schemeClr val="bg1"/>
                </a:solidFill>
                <a:latin typeface="+mn-lt"/>
              </a:rPr>
              <a:t>Palveluita esitellään kattavasti aterioiden kuljettamisesta kotisairaanhoitoon. Julkisten palvelujen lisäksi esitellään myös yksityisen ja kolmannen sektorin tarjoamia palveluja.</a:t>
            </a:r>
          </a:p>
        </p:txBody>
      </p:sp>
      <p:pic>
        <p:nvPicPr>
          <p:cNvPr id="7" name="Picture 6" descr="A picture containing text, screenshot, letter, font&#10;&#10;Description automatically generated">
            <a:extLst>
              <a:ext uri="{FF2B5EF4-FFF2-40B4-BE49-F238E27FC236}">
                <a16:creationId xmlns:a16="http://schemas.microsoft.com/office/drawing/2014/main" id="{C7C8738D-0802-9A00-8E60-F3509C14FF6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700000">
            <a:off x="4255928" y="227439"/>
            <a:ext cx="4075643" cy="5768788"/>
          </a:xfrm>
          <a:prstGeom prst="rect">
            <a:avLst/>
          </a:prstGeom>
        </p:spPr>
      </p:pic>
      <p:pic>
        <p:nvPicPr>
          <p:cNvPr id="8" name="Picture 7" descr="A screenshot of a phone&#10;&#10;Description automatically generated with low confidence">
            <a:extLst>
              <a:ext uri="{FF2B5EF4-FFF2-40B4-BE49-F238E27FC236}">
                <a16:creationId xmlns:a16="http://schemas.microsoft.com/office/drawing/2014/main" id="{5D6773D5-682A-09E8-B40E-DCCDED5CCD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700000">
            <a:off x="305952" y="1278273"/>
            <a:ext cx="4089859" cy="577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45435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97CD46-71E5-6F86-1ED8-DE1D7242D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pPr/>
              <a:t>38</a:t>
            </a:fld>
            <a:endParaRPr lang="fi-FI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8A24B6E-567C-B636-6FB7-5DE2CC427809}"/>
              </a:ext>
            </a:extLst>
          </p:cNvPr>
          <p:cNvSpPr txBox="1">
            <a:spLocks/>
          </p:cNvSpPr>
          <p:nvPr/>
        </p:nvSpPr>
        <p:spPr>
          <a:xfrm>
            <a:off x="431803" y="4728107"/>
            <a:ext cx="3131667" cy="19585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i-FI" sz="1600">
                <a:solidFill>
                  <a:schemeClr val="bg1"/>
                </a:solidFill>
                <a:latin typeface="+mn-lt"/>
              </a:rPr>
              <a:t>Oppaan takasisäkannessa on ohje palautteen annolle. Oppaasta kerätään palautetta verkkokyselyn avulla, jotta seuraavasta versiosta saadaan vieläkin parempi.</a:t>
            </a:r>
          </a:p>
        </p:txBody>
      </p:sp>
      <p:pic>
        <p:nvPicPr>
          <p:cNvPr id="5" name="Picture 4" descr="A screen shot of a message&#10;&#10;Description automatically generated with low confidence">
            <a:extLst>
              <a:ext uri="{FF2B5EF4-FFF2-40B4-BE49-F238E27FC236}">
                <a16:creationId xmlns:a16="http://schemas.microsoft.com/office/drawing/2014/main" id="{A469B03A-1684-AE1A-8B28-5F1BA93A18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0700000">
            <a:off x="3808075" y="0"/>
            <a:ext cx="484479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33007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>
            <a:extLst>
              <a:ext uri="{FF2B5EF4-FFF2-40B4-BE49-F238E27FC236}">
                <a16:creationId xmlns:a16="http://schemas.microsoft.com/office/drawing/2014/main" id="{CCF4145F-29B8-3FB6-4DC1-5B29A54831F1}"/>
              </a:ext>
            </a:extLst>
          </p:cNvPr>
          <p:cNvSpPr/>
          <p:nvPr/>
        </p:nvSpPr>
        <p:spPr>
          <a:xfrm>
            <a:off x="312531" y="395808"/>
            <a:ext cx="1377574" cy="137757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97CD46-71E5-6F86-1ED8-DE1D7242D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pPr/>
              <a:t>39</a:t>
            </a:fld>
            <a:endParaRPr lang="fi-FI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736EF54-34EB-5A18-91F4-E01B628CE1C2}"/>
              </a:ext>
            </a:extLst>
          </p:cNvPr>
          <p:cNvGrpSpPr/>
          <p:nvPr/>
        </p:nvGrpSpPr>
        <p:grpSpPr>
          <a:xfrm>
            <a:off x="3563470" y="1031631"/>
            <a:ext cx="7772400" cy="5164959"/>
            <a:chOff x="2729559" y="1031631"/>
            <a:chExt cx="7772400" cy="5164959"/>
          </a:xfrm>
        </p:grpSpPr>
        <p:pic>
          <p:nvPicPr>
            <p:cNvPr id="6" name="Picture 5" descr="A computer with a blank screen&#10;&#10;Description automatically generated with low confidence">
              <a:extLst>
                <a:ext uri="{FF2B5EF4-FFF2-40B4-BE49-F238E27FC236}">
                  <a16:creationId xmlns:a16="http://schemas.microsoft.com/office/drawing/2014/main" id="{E11B3730-6300-5363-18CA-4BF7A364009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29559" y="1031631"/>
              <a:ext cx="7772400" cy="5164959"/>
            </a:xfrm>
            <a:prstGeom prst="rect">
              <a:avLst/>
            </a:prstGeom>
          </p:spPr>
        </p:pic>
        <p:pic>
          <p:nvPicPr>
            <p:cNvPr id="7" name="Content Placeholder 5">
              <a:extLst>
                <a:ext uri="{FF2B5EF4-FFF2-40B4-BE49-F238E27FC236}">
                  <a16:creationId xmlns:a16="http://schemas.microsoft.com/office/drawing/2014/main" id="{3D9F884A-66AB-0567-9206-C0BDCC7EDC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08454" y="1666866"/>
              <a:ext cx="5212039" cy="3269168"/>
            </a:xfrm>
            <a:prstGeom prst="rect">
              <a:avLst/>
            </a:prstGeom>
          </p:spPr>
        </p:pic>
      </p:grp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798912E-A02F-CA7A-EA26-1163F3800052}"/>
              </a:ext>
            </a:extLst>
          </p:cNvPr>
          <p:cNvSpPr txBox="1">
            <a:spLocks/>
          </p:cNvSpPr>
          <p:nvPr/>
        </p:nvSpPr>
        <p:spPr>
          <a:xfrm>
            <a:off x="431803" y="2189481"/>
            <a:ext cx="3724561" cy="502830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i-FI" sz="1600">
                <a:solidFill>
                  <a:schemeClr val="bg1"/>
                </a:solidFill>
                <a:latin typeface="+mn-lt"/>
              </a:rPr>
              <a:t>Oppaan nettiversio toteutetaan pdf-tiedostoa mukaillen. Sisältö noudattelee pdf-tiedoston sisällysluetteloa ja tekstit poimitaan pdf-tiedostosta. </a:t>
            </a:r>
          </a:p>
          <a:p>
            <a:pPr marL="0" indent="0">
              <a:buNone/>
            </a:pPr>
            <a:r>
              <a:rPr lang="fi-FI" sz="1600">
                <a:solidFill>
                  <a:schemeClr val="bg1"/>
                </a:solidFill>
                <a:latin typeface="+mn-lt"/>
              </a:rPr>
              <a:t>Oppaan kuvitusta käytetään myös netissä. </a:t>
            </a:r>
            <a:r>
              <a:rPr lang="en-FI" sz="1600">
                <a:solidFill>
                  <a:schemeClr val="bg1"/>
                </a:solidFill>
                <a:latin typeface="+mn-lt"/>
              </a:rPr>
              <a:t>Oppaan kuvituskuvat on tallennettu png-muodossa nettiopasta varten. Tämän lisäksi voidaan hyödyntää Hyvinvointialueen nettisivuilta jo valmiiksi löytyviä valokuvia mm. bannereissa.</a:t>
            </a:r>
          </a:p>
          <a:p>
            <a:pPr marL="0" indent="0">
              <a:buNone/>
            </a:pPr>
            <a:r>
              <a:rPr lang="en-FI" sz="1600">
                <a:solidFill>
                  <a:schemeClr val="bg1"/>
                </a:solidFill>
                <a:latin typeface="+mn-lt"/>
              </a:rPr>
              <a:t>Web-oppaaseen voidaan laittaa tarpeen mukaan myös laajemmin linkkejä ja lisälukemista.</a:t>
            </a:r>
          </a:p>
          <a:p>
            <a:pPr marL="0" indent="0">
              <a:buNone/>
            </a:pPr>
            <a:endParaRPr lang="fi-FI" sz="160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0" name="Picture 9" descr="A yellow mouse cursor pointing towards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2C6B16F8-EFA0-6C2D-3CFB-43DB75B6BC5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2283" y="594544"/>
            <a:ext cx="1208398" cy="1377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9919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00981A-06C7-E3A2-C568-4EBE77D40A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Työn vaihee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AA321D-E077-EC84-931C-13C97AE595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Johdan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CC8459-3E5D-836F-1756-39E35845B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4</a:t>
            </a:fld>
            <a:endParaRPr lang="fi-FI"/>
          </a:p>
        </p:txBody>
      </p:sp>
      <p:sp>
        <p:nvSpPr>
          <p:cNvPr id="6" name="Nuoli oikealle 13">
            <a:extLst>
              <a:ext uri="{FF2B5EF4-FFF2-40B4-BE49-F238E27FC236}">
                <a16:creationId xmlns:a16="http://schemas.microsoft.com/office/drawing/2014/main" id="{4190B02D-B2DF-CC9F-39FB-8D07096ED7C0}"/>
              </a:ext>
            </a:extLst>
          </p:cNvPr>
          <p:cNvSpPr/>
          <p:nvPr/>
        </p:nvSpPr>
        <p:spPr>
          <a:xfrm>
            <a:off x="3417265" y="2083592"/>
            <a:ext cx="2678735" cy="919285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tx1">
              <a:alpha val="886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fi-FI">
                <a:solidFill>
                  <a:schemeClr val="tx1"/>
                </a:solidFill>
              </a:rPr>
              <a:t>Oppaan sisällön työstäminen</a:t>
            </a:r>
          </a:p>
        </p:txBody>
      </p:sp>
      <p:sp>
        <p:nvSpPr>
          <p:cNvPr id="7" name="Nuoli oikealle 14">
            <a:extLst>
              <a:ext uri="{FF2B5EF4-FFF2-40B4-BE49-F238E27FC236}">
                <a16:creationId xmlns:a16="http://schemas.microsoft.com/office/drawing/2014/main" id="{7AB9FFE3-0921-7F72-86B6-B8504D1D5C82}"/>
              </a:ext>
            </a:extLst>
          </p:cNvPr>
          <p:cNvSpPr/>
          <p:nvPr/>
        </p:nvSpPr>
        <p:spPr>
          <a:xfrm>
            <a:off x="531568" y="2083592"/>
            <a:ext cx="2691225" cy="919285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tx1">
              <a:alpha val="886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b="0" i="0" u="none" strike="noStrike" kern="0" cap="none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Sis</a:t>
            </a:r>
            <a:r>
              <a:rPr lang="fi-FI" kern="0" err="1">
                <a:solidFill>
                  <a:schemeClr val="tx1"/>
                </a:solidFill>
              </a:rPr>
              <a:t>ällön</a:t>
            </a:r>
            <a:r>
              <a:rPr lang="fi-FI" kern="0">
                <a:solidFill>
                  <a:schemeClr val="tx1"/>
                </a:solidFill>
              </a:rPr>
              <a:t> </a:t>
            </a:r>
            <a:br>
              <a:rPr lang="fi-FI" kern="0">
                <a:solidFill>
                  <a:schemeClr val="tx1"/>
                </a:solidFill>
              </a:rPr>
            </a:br>
            <a:r>
              <a:rPr lang="fi-FI" kern="0">
                <a:solidFill>
                  <a:schemeClr val="tx1"/>
                </a:solidFill>
              </a:rPr>
              <a:t>yhteissuunnittelu</a:t>
            </a:r>
            <a:r>
              <a:rPr kumimoji="0" lang="fi-FI" b="0" i="0" u="none" strike="noStrike" kern="0" cap="none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AE1ADC8-EB7B-762E-154B-9E74F5E94114}"/>
              </a:ext>
            </a:extLst>
          </p:cNvPr>
          <p:cNvSpPr txBox="1">
            <a:spLocks/>
          </p:cNvSpPr>
          <p:nvPr/>
        </p:nvSpPr>
        <p:spPr>
          <a:xfrm>
            <a:off x="531567" y="3429000"/>
            <a:ext cx="2489517" cy="31815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fi-FI" sz="1600">
                <a:latin typeface="+mn-lt"/>
              </a:rPr>
              <a:t>Oppaan tavoitteiden ja sisällön suunnittelu.</a:t>
            </a:r>
          </a:p>
          <a:p>
            <a:pPr>
              <a:lnSpc>
                <a:spcPct val="100000"/>
              </a:lnSpc>
            </a:pPr>
            <a:r>
              <a:rPr lang="fi-FI" sz="1600">
                <a:latin typeface="+mn-lt"/>
              </a:rPr>
              <a:t>Kaksi suunnittelutyöpajaa Siilinjärvellä: ikäihmiset (24.2.) ja asiakasohjaajat (25.2.).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BEA84F7-4C26-A357-AAC8-31DA227CC513}"/>
              </a:ext>
            </a:extLst>
          </p:cNvPr>
          <p:cNvSpPr txBox="1">
            <a:spLocks/>
          </p:cNvSpPr>
          <p:nvPr/>
        </p:nvSpPr>
        <p:spPr>
          <a:xfrm>
            <a:off x="3319912" y="3532942"/>
            <a:ext cx="2833920" cy="227684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sz="1600">
                <a:latin typeface="+mn-lt"/>
              </a:rPr>
              <a:t>Sisällön kerääminen eri lähteistä ja tekstin muokkaaminen yhtenäiseksi.</a:t>
            </a:r>
          </a:p>
          <a:p>
            <a:r>
              <a:rPr lang="fi-FI" sz="1600">
                <a:latin typeface="+mn-lt"/>
              </a:rPr>
              <a:t>Selkokielisyyden periaatteiden noudattaminen.</a:t>
            </a:r>
          </a:p>
          <a:p>
            <a:r>
              <a:rPr lang="fi-FI" sz="1600">
                <a:latin typeface="+mn-lt"/>
              </a:rPr>
              <a:t>Kuvitus ja taittotyö.</a:t>
            </a:r>
            <a:endParaRPr lang="fi-FI" sz="1600" b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8FA0735-57D8-76D4-8692-F27DEB6B49B8}"/>
              </a:ext>
            </a:extLst>
          </p:cNvPr>
          <p:cNvSpPr txBox="1">
            <a:spLocks/>
          </p:cNvSpPr>
          <p:nvPr/>
        </p:nvSpPr>
        <p:spPr>
          <a:xfrm>
            <a:off x="6257872" y="3538518"/>
            <a:ext cx="2655806" cy="31815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fi-FI" sz="1600">
                <a:latin typeface="+mn-lt"/>
              </a:rPr>
              <a:t>Oppaan arviointi ikäihmisillä ja asiakasohjaajilla: kysely ja etätilaisuus (15.5.).</a:t>
            </a:r>
          </a:p>
          <a:p>
            <a:pPr>
              <a:lnSpc>
                <a:spcPct val="100000"/>
              </a:lnSpc>
            </a:pPr>
            <a:r>
              <a:rPr lang="fi-FI" sz="1600">
                <a:latin typeface="+mn-lt"/>
              </a:rPr>
              <a:t>Vinkkien ja sananlaskujen kerääminen.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42BECE7-3B70-F20E-6831-D19593413CD4}"/>
              </a:ext>
            </a:extLst>
          </p:cNvPr>
          <p:cNvGrpSpPr/>
          <p:nvPr/>
        </p:nvGrpSpPr>
        <p:grpSpPr>
          <a:xfrm>
            <a:off x="3158308" y="3610070"/>
            <a:ext cx="2971145" cy="1775226"/>
            <a:chOff x="4037162" y="2769079"/>
            <a:chExt cx="3786997" cy="2734574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3EBD2DD0-EA9F-731E-8C73-91AB2ADA0DBB}"/>
                </a:ext>
              </a:extLst>
            </p:cNvPr>
            <p:cNvCxnSpPr/>
            <p:nvPr/>
          </p:nvCxnSpPr>
          <p:spPr>
            <a:xfrm>
              <a:off x="4037162" y="2769079"/>
              <a:ext cx="0" cy="2734574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DEE5A97E-E135-C319-5E5F-B1B7DD35D683}"/>
                </a:ext>
              </a:extLst>
            </p:cNvPr>
            <p:cNvCxnSpPr/>
            <p:nvPr/>
          </p:nvCxnSpPr>
          <p:spPr>
            <a:xfrm>
              <a:off x="7824159" y="2769079"/>
              <a:ext cx="0" cy="2734574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4" name="Nuoli oikealle 16">
            <a:extLst>
              <a:ext uri="{FF2B5EF4-FFF2-40B4-BE49-F238E27FC236}">
                <a16:creationId xmlns:a16="http://schemas.microsoft.com/office/drawing/2014/main" id="{FFB8F4F9-2CC6-9316-F6F2-38E84E533779}"/>
              </a:ext>
            </a:extLst>
          </p:cNvPr>
          <p:cNvSpPr/>
          <p:nvPr/>
        </p:nvSpPr>
        <p:spPr>
          <a:xfrm>
            <a:off x="9275657" y="2083592"/>
            <a:ext cx="2655806" cy="919285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tx1">
              <a:alpha val="886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b="0" i="0" u="none" strike="noStrike" kern="0" cap="none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Oppaan </a:t>
            </a:r>
            <a:br>
              <a:rPr kumimoji="0" lang="fi-FI" b="0" i="0" u="none" strike="noStrike" kern="0" cap="none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fi-FI" b="0" i="0" u="none" strike="noStrike" kern="0" cap="none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viimeistely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4B0245C-294B-E8E2-94CB-A85285AD834F}"/>
              </a:ext>
            </a:extLst>
          </p:cNvPr>
          <p:cNvCxnSpPr/>
          <p:nvPr/>
        </p:nvCxnSpPr>
        <p:spPr>
          <a:xfrm>
            <a:off x="9050902" y="3610070"/>
            <a:ext cx="0" cy="177522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03E8FB5C-ECB8-03C0-4DBB-1B3474EB1EBD}"/>
              </a:ext>
            </a:extLst>
          </p:cNvPr>
          <p:cNvSpPr txBox="1">
            <a:spLocks/>
          </p:cNvSpPr>
          <p:nvPr/>
        </p:nvSpPr>
        <p:spPr>
          <a:xfrm>
            <a:off x="9188127" y="3538518"/>
            <a:ext cx="2716167" cy="31815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fi-FI" sz="1600">
                <a:latin typeface="+mn-lt"/>
              </a:rPr>
              <a:t>Muutokset ja viimeistelyt oppaaseen.</a:t>
            </a:r>
          </a:p>
          <a:p>
            <a:pPr>
              <a:lnSpc>
                <a:spcPct val="100000"/>
              </a:lnSpc>
            </a:pPr>
            <a:r>
              <a:rPr lang="fi-FI" sz="1600">
                <a:latin typeface="+mn-lt"/>
              </a:rPr>
              <a:t>Ideat seuraavaa versiota varten. </a:t>
            </a:r>
          </a:p>
          <a:p>
            <a:pPr>
              <a:lnSpc>
                <a:spcPct val="100000"/>
              </a:lnSpc>
            </a:pPr>
            <a:r>
              <a:rPr lang="fi-FI" sz="1600">
                <a:latin typeface="+mn-lt"/>
              </a:rPr>
              <a:t>Opas painoon ja jakeluun, sekä markkinointi.</a:t>
            </a:r>
          </a:p>
          <a:p>
            <a:pPr>
              <a:lnSpc>
                <a:spcPct val="100000"/>
              </a:lnSpc>
            </a:pPr>
            <a:endParaRPr lang="fi-FI" sz="1600">
              <a:latin typeface="+mn-lt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E80F0CD-F260-9012-5C2E-83276725E161}"/>
              </a:ext>
            </a:extLst>
          </p:cNvPr>
          <p:cNvSpPr/>
          <p:nvPr/>
        </p:nvSpPr>
        <p:spPr>
          <a:xfrm>
            <a:off x="324091" y="1840375"/>
            <a:ext cx="509286" cy="50928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4EFB566-231B-7F3D-3D5D-04DCA4C0F074}"/>
              </a:ext>
            </a:extLst>
          </p:cNvPr>
          <p:cNvSpPr/>
          <p:nvPr/>
        </p:nvSpPr>
        <p:spPr>
          <a:xfrm>
            <a:off x="3194613" y="1840375"/>
            <a:ext cx="509286" cy="50928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1800DC9-2B7F-5AC4-167C-88859064F438}"/>
              </a:ext>
            </a:extLst>
          </p:cNvPr>
          <p:cNvSpPr/>
          <p:nvPr/>
        </p:nvSpPr>
        <p:spPr>
          <a:xfrm>
            <a:off x="9016678" y="1840375"/>
            <a:ext cx="509286" cy="50928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21" name="Nuoli oikealle 16">
            <a:extLst>
              <a:ext uri="{FF2B5EF4-FFF2-40B4-BE49-F238E27FC236}">
                <a16:creationId xmlns:a16="http://schemas.microsoft.com/office/drawing/2014/main" id="{7C3FDF58-9C23-97FB-34CF-DEED68AD6926}"/>
              </a:ext>
            </a:extLst>
          </p:cNvPr>
          <p:cNvSpPr/>
          <p:nvPr/>
        </p:nvSpPr>
        <p:spPr>
          <a:xfrm>
            <a:off x="6290472" y="2083592"/>
            <a:ext cx="2655806" cy="919285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tx1">
              <a:alpha val="8861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b="0" i="0" u="none" strike="noStrike" kern="0" cap="none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Oppaan </a:t>
            </a:r>
            <a:br>
              <a:rPr kumimoji="0" lang="fi-FI" b="0" i="0" u="none" strike="noStrike" kern="0" cap="none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fi-FI" b="0" i="0" u="none" strike="noStrike" kern="0" cap="none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arviointi 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708A9CB-1E7E-F9C0-32EC-DBAE91A483A5}"/>
              </a:ext>
            </a:extLst>
          </p:cNvPr>
          <p:cNvSpPr/>
          <p:nvPr/>
        </p:nvSpPr>
        <p:spPr>
          <a:xfrm>
            <a:off x="6099858" y="1840375"/>
            <a:ext cx="509286" cy="50928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>
                <a:solidFill>
                  <a:schemeClr val="tx2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803731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269AA8-743F-6132-ED2B-BB95DA703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Verkko-oppaasta </a:t>
            </a:r>
            <a:r>
              <a:rPr lang="fi-FI" err="1"/>
              <a:t>slaidia</a:t>
            </a:r>
            <a:r>
              <a:rPr lang="fi-FI"/>
              <a:t> tähän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5F744253-EACC-526F-E8F5-6F24156D8391}"/>
              </a:ext>
            </a:extLst>
          </p:cNvPr>
          <p:cNvPicPr>
            <a:picLocks noGrp="1" noChangeAspect="1"/>
          </p:cNvPicPr>
          <p:nvPr>
            <p:ph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85" y="-254340"/>
            <a:ext cx="12192000" cy="7880919"/>
          </a:xfrm>
        </p:spPr>
      </p:pic>
    </p:spTree>
    <p:extLst>
      <p:ext uri="{BB962C8B-B14F-4D97-AF65-F5344CB8AC3E}">
        <p14:creationId xmlns:p14="http://schemas.microsoft.com/office/powerpoint/2010/main" val="178328037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269AA8-743F-6132-ED2B-BB95DA703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Verkko-oppaasta </a:t>
            </a:r>
            <a:r>
              <a:rPr lang="fi-FI" err="1"/>
              <a:t>slaidia</a:t>
            </a:r>
            <a:r>
              <a:rPr lang="fi-FI"/>
              <a:t> tähän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5F744253-EACC-526F-E8F5-6F24156D8391}"/>
              </a:ext>
            </a:extLst>
          </p:cNvPr>
          <p:cNvPicPr>
            <a:picLocks noGrp="1" noChangeAspect="1"/>
          </p:cNvPicPr>
          <p:nvPr>
            <p:ph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85" y="-254340"/>
            <a:ext cx="12192000" cy="7880919"/>
          </a:xfrm>
        </p:spPr>
      </p:pic>
    </p:spTree>
    <p:extLst>
      <p:ext uri="{BB962C8B-B14F-4D97-AF65-F5344CB8AC3E}">
        <p14:creationId xmlns:p14="http://schemas.microsoft.com/office/powerpoint/2010/main" val="248281953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A2813E-5398-DC1D-4B29-A77220829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858" y="2469449"/>
            <a:ext cx="10515600" cy="2160000"/>
          </a:xfrm>
        </p:spPr>
        <p:txBody>
          <a:bodyPr/>
          <a:lstStyle/>
          <a:p>
            <a:r>
              <a:rPr lang="fi-FI" sz="4400">
                <a:solidFill>
                  <a:schemeClr val="tx1"/>
                </a:solidFill>
              </a:rPr>
              <a:t>Ideat ja huomiot </a:t>
            </a:r>
            <a:br>
              <a:rPr lang="fi-FI" sz="4400">
                <a:solidFill>
                  <a:schemeClr val="tx1"/>
                </a:solidFill>
              </a:rPr>
            </a:br>
            <a:r>
              <a:rPr lang="fi-FI" sz="4400">
                <a:solidFill>
                  <a:schemeClr val="tx1"/>
                </a:solidFill>
              </a:rPr>
              <a:t>jatkokehitykseen</a:t>
            </a:r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FDC5AB-4026-0ABC-E0D9-60265ABCE6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9021639-5C55-32FE-7B31-BF5B187CEC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pPr/>
              <a:t>42</a:t>
            </a:fld>
            <a:endParaRPr lang="fi-FI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2436B85-50EB-A1AE-CD4B-45A3C38259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66405" y="4867754"/>
            <a:ext cx="5716128" cy="2160000"/>
          </a:xfrm>
        </p:spPr>
        <p:txBody>
          <a:bodyPr/>
          <a:lstStyle/>
          <a:p>
            <a:pPr marL="0" indent="0">
              <a:buNone/>
            </a:pPr>
            <a:r>
              <a:rPr lang="fi-FI" sz="1600"/>
              <a:t>Oppaan päivitys on erittäin tärkeää niin painetussa oppaassa kuin digioppaassa. Ajantasaisuuden tarkistamisen yhteydessä on hyvä varmistaa onko muitakin muutostarpeita tai ideoita ilmennyt. Väliarviointiin suositellaan ikäihmisten ja asiakasohjaajien osallistamista.</a:t>
            </a:r>
          </a:p>
        </p:txBody>
      </p:sp>
      <p:pic>
        <p:nvPicPr>
          <p:cNvPr id="14" name="Picture 13" descr="A picture containing logo, graphics, clipart, symbol&#10;&#10;Description automatically generated">
            <a:extLst>
              <a:ext uri="{FF2B5EF4-FFF2-40B4-BE49-F238E27FC236}">
                <a16:creationId xmlns:a16="http://schemas.microsoft.com/office/drawing/2014/main" id="{73D1EA76-24EF-2B52-26DD-E6CD98F21EF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1888" y="545966"/>
            <a:ext cx="2585161" cy="2585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83187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7933CA-127A-20B0-C710-DE459F430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z="3600" b="1"/>
              <a:t>Tiedon ajantasaisuus ja oppaan jatkotyöstö</a:t>
            </a:r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F6F007-5A9D-9A7A-A3B1-208A809814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z="1000">
                <a:solidFill>
                  <a:schemeClr val="tx1"/>
                </a:solidFill>
              </a:rPr>
              <a:t>Ideat ja huomiot jatkokehitykseen</a:t>
            </a:r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C305A9-12EA-5214-D30D-230BF2EB83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43</a:t>
            </a:fld>
            <a:endParaRPr lang="fi-FI"/>
          </a:p>
        </p:txBody>
      </p:sp>
      <p:sp>
        <p:nvSpPr>
          <p:cNvPr id="7" name="Suorakulmio 67">
            <a:extLst>
              <a:ext uri="{FF2B5EF4-FFF2-40B4-BE49-F238E27FC236}">
                <a16:creationId xmlns:a16="http://schemas.microsoft.com/office/drawing/2014/main" id="{83951525-0D01-3EE4-7847-5B528FACCBF2}"/>
              </a:ext>
            </a:extLst>
          </p:cNvPr>
          <p:cNvSpPr/>
          <p:nvPr/>
        </p:nvSpPr>
        <p:spPr>
          <a:xfrm>
            <a:off x="5853181" y="2095665"/>
            <a:ext cx="5587609" cy="4219861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/>
              <a:t>Oppaan jatkokehittämiseen vastaa taho, joka huolehtii oppaan ajantasaisuudest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/>
              <a:t>Oppaan ajankohtaisuus tulisi tarkistaa vuosittain, varsinkin yhteystietojen osalta (puhelinnumerot, aukiolot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/>
              <a:t>Oppaasta kerätään palautetta seuraavaa versiota varten </a:t>
            </a:r>
            <a:r>
              <a:rPr lang="fi-FI">
                <a:hlinkClick r:id="rId2"/>
              </a:rPr>
              <a:t>nettikyselyssä</a:t>
            </a:r>
            <a:r>
              <a:rPr lang="fi-FI"/>
              <a:t>. Kysely on </a:t>
            </a:r>
            <a:r>
              <a:rPr lang="fi-FI" err="1"/>
              <a:t>NHG:n</a:t>
            </a:r>
            <a:r>
              <a:rPr lang="fi-FI"/>
              <a:t> </a:t>
            </a:r>
            <a:r>
              <a:rPr lang="fi-FI" err="1"/>
              <a:t>Questback</a:t>
            </a:r>
            <a:r>
              <a:rPr lang="fi-FI"/>
              <a:t>-työkalussa. Kyselyn tulokset tulee analysoida oppaan seuraavaa versiota varten. Lisäksi suositellaan asiakasohjaajien ja ikäihmisten haastattelua tai työpajaa parannusehdotuksien kartoittamista varte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/>
              <a:t>Seuraavaa versiota kehittäessä kannattaa </a:t>
            </a:r>
            <a:r>
              <a:rPr lang="fi-FI" err="1"/>
              <a:t>osallistaa</a:t>
            </a:r>
            <a:r>
              <a:rPr lang="fi-FI"/>
              <a:t> ikäihmisten eri kerhoja ja sekä järjestöjä. </a:t>
            </a:r>
          </a:p>
        </p:txBody>
      </p:sp>
      <p:pic>
        <p:nvPicPr>
          <p:cNvPr id="12" name="Picture 11" descr="A picture containing vehicle, clipart, land vehicle, bus&#10;&#10;Description automatically generated">
            <a:extLst>
              <a:ext uri="{FF2B5EF4-FFF2-40B4-BE49-F238E27FC236}">
                <a16:creationId xmlns:a16="http://schemas.microsoft.com/office/drawing/2014/main" id="{78FB7817-9C4E-B1A6-ECB7-3BB55938D6F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0218" y="1997386"/>
            <a:ext cx="5100724" cy="3998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98368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7933CA-127A-20B0-C710-DE459F430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Ideoita jatkotyöstöä varte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F6F007-5A9D-9A7A-A3B1-208A809814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sz="1000">
                <a:solidFill>
                  <a:schemeClr val="tx1"/>
                </a:solidFill>
              </a:rPr>
              <a:t>Ideat ja huomiot jatkokehitykseen</a:t>
            </a:r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C305A9-12EA-5214-D30D-230BF2EB83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44</a:t>
            </a:fld>
            <a:endParaRPr lang="fi-FI"/>
          </a:p>
        </p:txBody>
      </p:sp>
      <p:sp>
        <p:nvSpPr>
          <p:cNvPr id="9" name="Suorakulmio 67">
            <a:extLst>
              <a:ext uri="{FF2B5EF4-FFF2-40B4-BE49-F238E27FC236}">
                <a16:creationId xmlns:a16="http://schemas.microsoft.com/office/drawing/2014/main" id="{E3C33393-200F-9175-F7E4-F0B28E94E677}"/>
              </a:ext>
            </a:extLst>
          </p:cNvPr>
          <p:cNvSpPr/>
          <p:nvPr/>
        </p:nvSpPr>
        <p:spPr>
          <a:xfrm>
            <a:off x="4949952" y="1894316"/>
            <a:ext cx="6543709" cy="5099459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/>
          <a:p>
            <a:pPr>
              <a:spcAft>
                <a:spcPts val="1000"/>
              </a:spcAft>
            </a:pPr>
            <a:r>
              <a:rPr lang="fi-FI" b="1"/>
              <a:t>Oppaan seuraava vers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600"/>
              <a:t>J</a:t>
            </a:r>
            <a:r>
              <a:rPr lang="fi-FI" sz="1600">
                <a:effectLst/>
              </a:rPr>
              <a:t>ärjestöjen tuki asumiseen koottu omaksi luvukse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600">
                <a:effectLst/>
              </a:rPr>
              <a:t>Muita tapoja edistää kodin turvallisuutta -kohta: ”älylaite”-termin avaami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/>
          </a:p>
          <a:p>
            <a:pPr>
              <a:spcAft>
                <a:spcPts val="1000"/>
              </a:spcAft>
            </a:pPr>
            <a:r>
              <a:rPr lang="fi-FI" b="1"/>
              <a:t>Muut kommentit:</a:t>
            </a:r>
            <a:endParaRPr lang="fi-FI" b="1"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600"/>
              <a:t>Järjestöjä ja muita tahoja (kirjasto, kunnantalon neuvonta) kiinnostaisi saada opasta jaettavaksi omille toimipisteilleen – voisiko seuraavasta painoksesta tehdä yhteistilauksen painoon, jonka kustannukset on jaettu useiden toimijoiden kesken (mikäli järjestöt ovat valmiita osallistumaan kustannuksii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600">
                <a:effectLst/>
              </a:rPr>
              <a:t>Eri asumisvaihtoehdoista voisi tehdä omat tarkemmat ja laajemmat oppaa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600"/>
              <a:t>Oppaalle on tarvetta laajemminkin – jaetaan hyvin tehtyä työtä muiden hyvinvointialueiden työn tueksi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600">
                <a:effectLst/>
              </a:rPr>
              <a:t>Oppaasta voisi tehdä ääniversion.</a:t>
            </a:r>
          </a:p>
          <a:p>
            <a:endParaRPr lang="fi-FI"/>
          </a:p>
        </p:txBody>
      </p:sp>
      <p:pic>
        <p:nvPicPr>
          <p:cNvPr id="13" name="Picture 12" descr="A picture containing clipart, drawing, illustration, design&#10;&#10;Description automatically generated">
            <a:extLst>
              <a:ext uri="{FF2B5EF4-FFF2-40B4-BE49-F238E27FC236}">
                <a16:creationId xmlns:a16="http://schemas.microsoft.com/office/drawing/2014/main" id="{CA0C968F-4432-D8F2-CE88-2B9B37462B0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511" y="1869943"/>
            <a:ext cx="4263331" cy="4446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767167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441538B-1697-0052-BDF2-FA46ED28D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45</a:t>
            </a:fld>
            <a:endParaRPr lang="fi-FI"/>
          </a:p>
        </p:txBody>
      </p:sp>
      <p:pic>
        <p:nvPicPr>
          <p:cNvPr id="4" name="Picture 3" descr="A cartoon of a person reading a book&#10;&#10;Description automatically generated with medium confidence">
            <a:extLst>
              <a:ext uri="{FF2B5EF4-FFF2-40B4-BE49-F238E27FC236}">
                <a16:creationId xmlns:a16="http://schemas.microsoft.com/office/drawing/2014/main" id="{9E1EA7F7-B5F9-0BA2-EA80-A65DFE5887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2610" y="0"/>
            <a:ext cx="7666779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4D06EEB-48FA-E526-0BA5-F7880B044ACB}"/>
              </a:ext>
            </a:extLst>
          </p:cNvPr>
          <p:cNvSpPr txBox="1"/>
          <p:nvPr/>
        </p:nvSpPr>
        <p:spPr>
          <a:xfrm>
            <a:off x="329184" y="4437056"/>
            <a:ext cx="2657856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/>
            <a:r>
              <a:rPr lang="fi-FI" sz="1600" b="1" i="0" u="none" strike="noStrike">
                <a:solidFill>
                  <a:srgbClr val="3F4443"/>
                </a:solidFill>
                <a:effectLst/>
              </a:rPr>
              <a:t>Nordic Healthcare Group</a:t>
            </a:r>
          </a:p>
          <a:p>
            <a:pPr algn="l" rtl="0" fontAlgn="base"/>
            <a:endParaRPr lang="fi-FI" sz="1600">
              <a:solidFill>
                <a:srgbClr val="3F4443"/>
              </a:solidFill>
            </a:endParaRPr>
          </a:p>
          <a:p>
            <a:pPr algn="l" rtl="0" fontAlgn="base"/>
            <a:r>
              <a:rPr lang="fi-FI" sz="1600" b="0" i="0" u="none" strike="noStrike">
                <a:solidFill>
                  <a:srgbClr val="3F4443"/>
                </a:solidFill>
                <a:effectLst/>
              </a:rPr>
              <a:t>Petra Jäntti</a:t>
            </a:r>
            <a:r>
              <a:rPr lang="en-US" sz="1600" b="0" i="0">
                <a:solidFill>
                  <a:srgbClr val="3F4443"/>
                </a:solidFill>
                <a:effectLst/>
              </a:rPr>
              <a:t>​</a:t>
            </a:r>
          </a:p>
          <a:p>
            <a:pPr algn="l" rtl="0" fontAlgn="base"/>
            <a:r>
              <a:rPr lang="fi-FI" sz="1600" b="0" i="0" u="none" strike="noStrike" err="1">
                <a:solidFill>
                  <a:srgbClr val="3F4443"/>
                </a:solidFill>
                <a:effectLst/>
              </a:rPr>
              <a:t>petra.jantti@nhg.fi</a:t>
            </a:r>
            <a:r>
              <a:rPr lang="fi-FI" sz="1600" b="0" i="0">
                <a:solidFill>
                  <a:srgbClr val="3F4443"/>
                </a:solidFill>
                <a:effectLst/>
              </a:rPr>
              <a:t>​</a:t>
            </a:r>
          </a:p>
          <a:p>
            <a:pPr algn="l" rtl="0" fontAlgn="base"/>
            <a:r>
              <a:rPr lang="en-US" sz="1600" b="0" i="0">
                <a:solidFill>
                  <a:srgbClr val="3F4443"/>
                </a:solidFill>
                <a:effectLst/>
              </a:rPr>
              <a:t>​</a:t>
            </a:r>
            <a:br>
              <a:rPr lang="en-US" sz="1600" b="0" i="0">
                <a:solidFill>
                  <a:srgbClr val="3F4443"/>
                </a:solidFill>
                <a:effectLst/>
              </a:rPr>
            </a:br>
            <a:r>
              <a:rPr lang="fi-FI" sz="1600" b="0" i="0" u="none" strike="noStrike">
                <a:solidFill>
                  <a:srgbClr val="3F4443"/>
                </a:solidFill>
                <a:effectLst/>
              </a:rPr>
              <a:t>Maria Okkonen</a:t>
            </a:r>
            <a:r>
              <a:rPr lang="en-US" sz="1600" b="0" i="0">
                <a:solidFill>
                  <a:srgbClr val="3F4443"/>
                </a:solidFill>
                <a:effectLst/>
              </a:rPr>
              <a:t>​</a:t>
            </a:r>
          </a:p>
          <a:p>
            <a:pPr algn="l" rtl="0" fontAlgn="base"/>
            <a:r>
              <a:rPr lang="fi-FI" sz="1600" b="0" i="0" u="none" strike="noStrike" err="1">
                <a:solidFill>
                  <a:srgbClr val="3F4443"/>
                </a:solidFill>
                <a:effectLst/>
              </a:rPr>
              <a:t>maria.okkonen@nhg.fi</a:t>
            </a:r>
            <a:r>
              <a:rPr lang="fi-FI" sz="1600" b="0" i="0">
                <a:solidFill>
                  <a:srgbClr val="3F4443"/>
                </a:solidFill>
                <a:effectLst/>
              </a:rPr>
              <a:t>​</a:t>
            </a:r>
          </a:p>
          <a:p>
            <a:pPr algn="l" rtl="0" fontAlgn="base"/>
            <a:r>
              <a:rPr lang="fi-FI" sz="1600" b="0" i="0">
                <a:solidFill>
                  <a:srgbClr val="3F4443"/>
                </a:solidFill>
                <a:effectLst/>
              </a:rPr>
              <a:t>​</a:t>
            </a:r>
          </a:p>
        </p:txBody>
      </p:sp>
    </p:spTree>
    <p:extLst>
      <p:ext uri="{BB962C8B-B14F-4D97-AF65-F5344CB8AC3E}">
        <p14:creationId xmlns:p14="http://schemas.microsoft.com/office/powerpoint/2010/main" val="13629096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00981A-06C7-E3A2-C568-4EBE77D40A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Näkökulmi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AA321D-E077-EC84-931C-13C97AE595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Johdan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CC8459-3E5D-836F-1756-39E35845B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5</a:t>
            </a:fld>
            <a:endParaRPr lang="fi-FI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8D61C3C3-EA0D-1C53-887D-86C325C3B3B4}"/>
              </a:ext>
            </a:extLst>
          </p:cNvPr>
          <p:cNvSpPr/>
          <p:nvPr/>
        </p:nvSpPr>
        <p:spPr>
          <a:xfrm>
            <a:off x="4888218" y="753736"/>
            <a:ext cx="2431159" cy="2431159"/>
          </a:xfrm>
          <a:prstGeom prst="ellipse">
            <a:avLst/>
          </a:prstGeom>
          <a:solidFill>
            <a:schemeClr val="tx1">
              <a:alpha val="803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1AA6DA18-6F04-3533-2B22-660D5364E463}"/>
              </a:ext>
            </a:extLst>
          </p:cNvPr>
          <p:cNvSpPr/>
          <p:nvPr/>
        </p:nvSpPr>
        <p:spPr>
          <a:xfrm>
            <a:off x="4888218" y="3758716"/>
            <a:ext cx="2431159" cy="2431159"/>
          </a:xfrm>
          <a:prstGeom prst="ellipse">
            <a:avLst/>
          </a:prstGeom>
          <a:solidFill>
            <a:schemeClr val="tx1">
              <a:alpha val="803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8E33D67F-C119-EFE3-AC3A-C8A0AE246599}"/>
              </a:ext>
            </a:extLst>
          </p:cNvPr>
          <p:cNvSpPr/>
          <p:nvPr/>
        </p:nvSpPr>
        <p:spPr>
          <a:xfrm>
            <a:off x="3550583" y="1939501"/>
            <a:ext cx="3066882" cy="3066882"/>
          </a:xfrm>
          <a:prstGeom prst="ellipse">
            <a:avLst/>
          </a:prstGeom>
          <a:solidFill>
            <a:schemeClr val="bg2">
              <a:alpha val="4721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94327E3-B326-0D54-4E7B-29DDC7C74BE0}"/>
              </a:ext>
            </a:extLst>
          </p:cNvPr>
          <p:cNvSpPr/>
          <p:nvPr/>
        </p:nvSpPr>
        <p:spPr>
          <a:xfrm>
            <a:off x="5557408" y="1939501"/>
            <a:ext cx="3066882" cy="3066882"/>
          </a:xfrm>
          <a:prstGeom prst="ellipse">
            <a:avLst/>
          </a:prstGeom>
          <a:solidFill>
            <a:schemeClr val="bg2">
              <a:alpha val="4721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D21AC37-5093-8C2E-672C-6964E08459E5}"/>
              </a:ext>
            </a:extLst>
          </p:cNvPr>
          <p:cNvSpPr txBox="1"/>
          <p:nvPr/>
        </p:nvSpPr>
        <p:spPr>
          <a:xfrm>
            <a:off x="4205369" y="3073048"/>
            <a:ext cx="130281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600" b="1">
                <a:cs typeface="Arial" panose="020B0604020202020204" pitchFamily="34" charset="0"/>
              </a:rPr>
              <a:t>Ikä-ihmine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F0E14B1-BE95-A388-8D9A-ED10D0A07706}"/>
              </a:ext>
            </a:extLst>
          </p:cNvPr>
          <p:cNvSpPr txBox="1"/>
          <p:nvPr/>
        </p:nvSpPr>
        <p:spPr>
          <a:xfrm>
            <a:off x="6366612" y="3084240"/>
            <a:ext cx="17680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600" b="1">
                <a:cs typeface="Arial" panose="020B0604020202020204" pitchFamily="34" charset="0"/>
              </a:rPr>
              <a:t>Asiakas-</a:t>
            </a:r>
          </a:p>
          <a:p>
            <a:pPr algn="ctr"/>
            <a:r>
              <a:rPr lang="fi-FI" sz="1600" b="1">
                <a:cs typeface="Arial" panose="020B0604020202020204" pitchFamily="34" charset="0"/>
              </a:rPr>
              <a:t>ohjaaja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E9CAC04-3163-8F4C-C3B9-516CCBFD4614}"/>
              </a:ext>
            </a:extLst>
          </p:cNvPr>
          <p:cNvGrpSpPr/>
          <p:nvPr/>
        </p:nvGrpSpPr>
        <p:grpSpPr>
          <a:xfrm>
            <a:off x="5557408" y="2396121"/>
            <a:ext cx="1060057" cy="2105324"/>
            <a:chOff x="5182975" y="2309046"/>
            <a:chExt cx="1060057" cy="2105324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80A77B1-05E8-977F-CA9A-0B3A6BDA9E1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82975" y="2451580"/>
              <a:ext cx="732304" cy="929059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A3732EA-0569-1A89-837A-7EE35208D4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06652" y="2637697"/>
              <a:ext cx="797640" cy="10119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9F7CB600-C8ED-EE2D-875C-1ADA9B3A402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66140" y="2812747"/>
              <a:ext cx="838728" cy="106407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9368B1B4-E652-B69F-ED7A-F0412642627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368492" y="3034207"/>
              <a:ext cx="797640" cy="10119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6ED09579-9BA0-3FB0-C477-7002CC40809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445392" y="3255667"/>
              <a:ext cx="797640" cy="10119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24C9E3F2-C18C-E0D3-9E17-FB75B7AC8B6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91190" y="3592557"/>
              <a:ext cx="647770" cy="82181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C3FE61A0-904C-4070-5399-8A54D67DE03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31580" y="2309046"/>
              <a:ext cx="553537" cy="70226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4CA8671B-04F0-A77C-C383-63245F6D9F24}"/>
              </a:ext>
            </a:extLst>
          </p:cNvPr>
          <p:cNvSpPr txBox="1"/>
          <p:nvPr/>
        </p:nvSpPr>
        <p:spPr>
          <a:xfrm>
            <a:off x="9231286" y="2697687"/>
            <a:ext cx="2743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600">
                <a:cs typeface="Arial" panose="020B0604020202020204" pitchFamily="34" charset="0"/>
              </a:rPr>
              <a:t>Tarpeet, toiveet ja huolet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AFA1365-5ED0-8E28-E7EA-C87E063F01DF}"/>
              </a:ext>
            </a:extLst>
          </p:cNvPr>
          <p:cNvCxnSpPr>
            <a:cxnSpLocks/>
          </p:cNvCxnSpPr>
          <p:nvPr/>
        </p:nvCxnSpPr>
        <p:spPr>
          <a:xfrm flipH="1">
            <a:off x="8507744" y="2878145"/>
            <a:ext cx="6425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34F041B4-F568-BCCE-6CDE-A7411E262EEF}"/>
              </a:ext>
            </a:extLst>
          </p:cNvPr>
          <p:cNvSpPr txBox="1"/>
          <p:nvPr/>
        </p:nvSpPr>
        <p:spPr>
          <a:xfrm>
            <a:off x="5200245" y="5106242"/>
            <a:ext cx="1768085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fi-FI" sz="1600" b="1">
                <a:solidFill>
                  <a:schemeClr val="tx2"/>
                </a:solidFill>
                <a:cs typeface="Arial" panose="020B0604020202020204" pitchFamily="34" charset="0"/>
              </a:rPr>
              <a:t>Hyvinvointialu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5EC8914-5431-D8AB-B3E9-8EDD5216DC1C}"/>
              </a:ext>
            </a:extLst>
          </p:cNvPr>
          <p:cNvSpPr txBox="1"/>
          <p:nvPr/>
        </p:nvSpPr>
        <p:spPr>
          <a:xfrm>
            <a:off x="9231286" y="3861572"/>
            <a:ext cx="2743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600">
                <a:cs typeface="Arial" panose="020B0604020202020204" pitchFamily="34" charset="0"/>
              </a:rPr>
              <a:t>Kokemusperäinen tieto toiminnasta ja asiakkaiden tarpeista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758DB46-9E2B-2A58-F53F-392B5C5886C9}"/>
              </a:ext>
            </a:extLst>
          </p:cNvPr>
          <p:cNvCxnSpPr>
            <a:cxnSpLocks/>
          </p:cNvCxnSpPr>
          <p:nvPr/>
        </p:nvCxnSpPr>
        <p:spPr>
          <a:xfrm flipH="1">
            <a:off x="8507744" y="4042030"/>
            <a:ext cx="6425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5B5FFB5F-3B2D-9869-EDDC-A9DFDFF7722E}"/>
              </a:ext>
            </a:extLst>
          </p:cNvPr>
          <p:cNvCxnSpPr>
            <a:cxnSpLocks/>
          </p:cNvCxnSpPr>
          <p:nvPr/>
        </p:nvCxnSpPr>
        <p:spPr>
          <a:xfrm flipH="1">
            <a:off x="2979800" y="2878145"/>
            <a:ext cx="6994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6B487626-8219-0B34-272D-F3D1D8006BC5}"/>
              </a:ext>
            </a:extLst>
          </p:cNvPr>
          <p:cNvCxnSpPr/>
          <p:nvPr/>
        </p:nvCxnSpPr>
        <p:spPr>
          <a:xfrm flipH="1">
            <a:off x="2979800" y="3387908"/>
            <a:ext cx="55025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6066CB4E-3556-6C1D-4BC4-9DB47A5373B3}"/>
              </a:ext>
            </a:extLst>
          </p:cNvPr>
          <p:cNvSpPr txBox="1"/>
          <p:nvPr/>
        </p:nvSpPr>
        <p:spPr>
          <a:xfrm>
            <a:off x="138194" y="2697687"/>
            <a:ext cx="2743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i-FI" sz="1600">
                <a:cs typeface="Arial" panose="020B0604020202020204" pitchFamily="34" charset="0"/>
              </a:rPr>
              <a:t>Tarpeet, toiveet ja huole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A4FA252-712B-ED2F-4639-3C2E97CCEC7F}"/>
              </a:ext>
            </a:extLst>
          </p:cNvPr>
          <p:cNvSpPr txBox="1"/>
          <p:nvPr/>
        </p:nvSpPr>
        <p:spPr>
          <a:xfrm>
            <a:off x="138194" y="3207450"/>
            <a:ext cx="2743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i-FI" sz="1600">
                <a:cs typeface="Arial" panose="020B0604020202020204" pitchFamily="34" charset="0"/>
              </a:rPr>
              <a:t>Oman tilanteensa paras asiantuntija</a:t>
            </a:r>
          </a:p>
          <a:p>
            <a:pPr algn="r"/>
            <a:endParaRPr lang="fi-FI" sz="1600"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8FA3EB4-AF27-FFD5-AE40-F30B08C1B2C5}"/>
              </a:ext>
            </a:extLst>
          </p:cNvPr>
          <p:cNvSpPr txBox="1"/>
          <p:nvPr/>
        </p:nvSpPr>
        <p:spPr>
          <a:xfrm>
            <a:off x="9231286" y="3185940"/>
            <a:ext cx="2743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600">
                <a:cs typeface="Arial" panose="020B0604020202020204" pitchFamily="34" charset="0"/>
              </a:rPr>
              <a:t>Ymmärrys nykytoiminnan vahvuuksista ja haasteista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6AA27B40-C67F-17EC-202E-7F65CC409DF7}"/>
              </a:ext>
            </a:extLst>
          </p:cNvPr>
          <p:cNvCxnSpPr/>
          <p:nvPr/>
        </p:nvCxnSpPr>
        <p:spPr>
          <a:xfrm flipH="1">
            <a:off x="8600014" y="3366398"/>
            <a:ext cx="55025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E426E04E-A1D8-1C01-96CD-C1DA1E7D73C1}"/>
              </a:ext>
            </a:extLst>
          </p:cNvPr>
          <p:cNvCxnSpPr>
            <a:cxnSpLocks/>
          </p:cNvCxnSpPr>
          <p:nvPr/>
        </p:nvCxnSpPr>
        <p:spPr>
          <a:xfrm flipH="1">
            <a:off x="2979800" y="4081591"/>
            <a:ext cx="6994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C28AB2B1-B035-C609-F0C6-9747E6DA99CA}"/>
              </a:ext>
            </a:extLst>
          </p:cNvPr>
          <p:cNvSpPr txBox="1"/>
          <p:nvPr/>
        </p:nvSpPr>
        <p:spPr>
          <a:xfrm>
            <a:off x="462454" y="3901133"/>
            <a:ext cx="241893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i-FI" sz="1600">
                <a:cs typeface="Arial" panose="020B0604020202020204" pitchFamily="34" charset="0"/>
              </a:rPr>
              <a:t>Ajatteleva, tunteva ja tahtova ihminen perustarpeineen</a:t>
            </a:r>
          </a:p>
          <a:p>
            <a:pPr algn="r"/>
            <a:endParaRPr lang="fi-FI" sz="1600">
              <a:cs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A749A00-E75F-46A6-5862-9BE9CBD003DC}"/>
              </a:ext>
            </a:extLst>
          </p:cNvPr>
          <p:cNvSpPr txBox="1"/>
          <p:nvPr/>
        </p:nvSpPr>
        <p:spPr>
          <a:xfrm>
            <a:off x="5452388" y="1220498"/>
            <a:ext cx="130281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600" b="1">
                <a:solidFill>
                  <a:schemeClr val="tx2"/>
                </a:solidFill>
                <a:cs typeface="Arial" panose="020B0604020202020204" pitchFamily="34" charset="0"/>
              </a:rPr>
              <a:t>Läheiset </a:t>
            </a:r>
            <a:br>
              <a:rPr lang="fi-FI" sz="1600" b="1">
                <a:solidFill>
                  <a:schemeClr val="tx2"/>
                </a:solidFill>
                <a:cs typeface="Arial" panose="020B0604020202020204" pitchFamily="34" charset="0"/>
              </a:rPr>
            </a:br>
            <a:r>
              <a:rPr lang="fi-FI" sz="1600" b="1">
                <a:solidFill>
                  <a:schemeClr val="tx2"/>
                </a:solidFill>
                <a:cs typeface="Arial" panose="020B0604020202020204" pitchFamily="34" charset="0"/>
              </a:rPr>
              <a:t>ja omaiset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41D98F8-681F-1839-DA32-F93B478C755D}"/>
              </a:ext>
            </a:extLst>
          </p:cNvPr>
          <p:cNvCxnSpPr>
            <a:cxnSpLocks/>
          </p:cNvCxnSpPr>
          <p:nvPr/>
        </p:nvCxnSpPr>
        <p:spPr>
          <a:xfrm flipH="1">
            <a:off x="7235992" y="5418885"/>
            <a:ext cx="6425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B9AD0294-DFB7-E5DA-74B9-86588B3B6FEF}"/>
              </a:ext>
            </a:extLst>
          </p:cNvPr>
          <p:cNvSpPr txBox="1"/>
          <p:nvPr/>
        </p:nvSpPr>
        <p:spPr>
          <a:xfrm>
            <a:off x="8033107" y="5217406"/>
            <a:ext cx="2743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600">
                <a:cs typeface="Arial" panose="020B0604020202020204" pitchFamily="34" charset="0"/>
              </a:rPr>
              <a:t>Vanhuspalvelulain muuto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51C65D1-135D-18C2-31C5-3D11A74F6A08}"/>
              </a:ext>
            </a:extLst>
          </p:cNvPr>
          <p:cNvSpPr txBox="1"/>
          <p:nvPr/>
        </p:nvSpPr>
        <p:spPr>
          <a:xfrm>
            <a:off x="9231286" y="1163176"/>
            <a:ext cx="27432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600">
                <a:cs typeface="Arial" panose="020B0604020202020204" pitchFamily="34" charset="0"/>
              </a:rPr>
              <a:t>Tarpeet, toiveet ja huolet. Läheiset hoitavat monesti ikäihmisten asioita, jonka lisäksi ovat tärkeä tiedon välittäjä.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1C326DAC-F1BD-2BC3-BA26-570B37A0BCB4}"/>
              </a:ext>
            </a:extLst>
          </p:cNvPr>
          <p:cNvCxnSpPr>
            <a:cxnSpLocks/>
          </p:cNvCxnSpPr>
          <p:nvPr/>
        </p:nvCxnSpPr>
        <p:spPr>
          <a:xfrm flipH="1">
            <a:off x="7235992" y="1343634"/>
            <a:ext cx="19142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40100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itle 53">
            <a:extLst>
              <a:ext uri="{FF2B5EF4-FFF2-40B4-BE49-F238E27FC236}">
                <a16:creationId xmlns:a16="http://schemas.microsoft.com/office/drawing/2014/main" id="{DA942C11-FC75-108C-FD91-1589DB8B38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0759" y="2176261"/>
            <a:ext cx="4455643" cy="1472950"/>
          </a:xfrm>
        </p:spPr>
        <p:txBody>
          <a:bodyPr/>
          <a:lstStyle/>
          <a:p>
            <a:r>
              <a:rPr lang="fi-FI" sz="2800">
                <a:latin typeface="+mn-lt"/>
                <a:ea typeface="Verdana"/>
                <a:cs typeface="Arial" panose="020B0604020202020204" pitchFamily="34" charset="0"/>
              </a:rPr>
              <a:t>2022 tehdyssä projektissa Siilinjärvelle (Moderni </a:t>
            </a:r>
            <a:r>
              <a:rPr lang="fi-FI" sz="2800">
                <a:ea typeface="Verdana"/>
                <a:cs typeface="Arial" panose="020B0604020202020204" pitchFamily="34" charset="0"/>
              </a:rPr>
              <a:t>yhteisöllisyys</a:t>
            </a:r>
            <a:r>
              <a:rPr lang="fi-FI" sz="2800">
                <a:latin typeface="+mn-lt"/>
                <a:ea typeface="Verdana"/>
                <a:cs typeface="Arial" panose="020B0604020202020204" pitchFamily="34" charset="0"/>
              </a:rPr>
              <a:t>) nousi tarve </a:t>
            </a:r>
            <a:r>
              <a:rPr lang="fi-FI" sz="2800" b="1">
                <a:solidFill>
                  <a:schemeClr val="tx1"/>
                </a:solidFill>
                <a:latin typeface="+mn-lt"/>
                <a:ea typeface="Verdana"/>
                <a:cs typeface="Arial" panose="020B0604020202020204" pitchFamily="34" charset="0"/>
              </a:rPr>
              <a:t>tiedon lisäämisestä</a:t>
            </a:r>
            <a:br>
              <a:rPr lang="fi-FI" sz="2800" b="1">
                <a:solidFill>
                  <a:schemeClr val="tx1"/>
                </a:solidFill>
                <a:latin typeface="+mn-lt"/>
                <a:ea typeface="Verdana"/>
                <a:cs typeface="Arial" panose="020B0604020202020204" pitchFamily="34" charset="0"/>
              </a:rPr>
            </a:br>
            <a:br>
              <a:rPr lang="fi-FI" sz="2800">
                <a:latin typeface="+mn-lt"/>
                <a:cs typeface="Arial" panose="020B0604020202020204" pitchFamily="34" charset="0"/>
              </a:rPr>
            </a:br>
            <a:endParaRPr lang="fi-FI">
              <a:latin typeface="+mn-lt"/>
              <a:cs typeface="Arial" panose="020B0604020202020204" pitchFamily="34" charset="0"/>
            </a:endParaRP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3B0F68C1-7D8E-BA18-1FB4-B4F4F7D642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20759" y="4191124"/>
            <a:ext cx="4455643" cy="3474302"/>
          </a:xfrm>
        </p:spPr>
        <p:txBody>
          <a:bodyPr/>
          <a:lstStyle/>
          <a:p>
            <a:pPr marL="457200" indent="-457200">
              <a:buAutoNum type="arabicPeriod"/>
            </a:pPr>
            <a:r>
              <a:rPr lang="fi-FI" sz="1800">
                <a:solidFill>
                  <a:schemeClr val="tx1"/>
                </a:solidFill>
                <a:cs typeface="Arial" panose="020B0604020202020204" pitchFamily="34" charset="0"/>
              </a:rPr>
              <a:t>Saatavilla olevien tukien hyödyntäminen</a:t>
            </a:r>
          </a:p>
          <a:p>
            <a:pPr marL="457200" indent="-457200">
              <a:buAutoNum type="arabicPeriod"/>
            </a:pPr>
            <a:r>
              <a:rPr lang="fi-FI" sz="1800">
                <a:solidFill>
                  <a:schemeClr val="tx1"/>
                </a:solidFill>
                <a:cs typeface="Arial" panose="020B0604020202020204" pitchFamily="34" charset="0"/>
              </a:rPr>
              <a:t>Ikäystävällisempi koti</a:t>
            </a:r>
          </a:p>
          <a:p>
            <a:pPr marL="457200" indent="-457200">
              <a:buAutoNum type="arabicPeriod"/>
            </a:pPr>
            <a:r>
              <a:rPr lang="fi-FI" sz="1800">
                <a:solidFill>
                  <a:schemeClr val="tx1"/>
                </a:solidFill>
                <a:cs typeface="Arial" panose="020B0604020202020204" pitchFamily="34" charset="0"/>
              </a:rPr>
              <a:t>Olla kotona "niin kauan kuin mahdollista"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i-FI" sz="18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i-FI" sz="18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i-FI" sz="1600">
              <a:solidFill>
                <a:srgbClr val="1B1C1B"/>
              </a:solidFill>
              <a:cs typeface="Arial" panose="020B0604020202020204" pitchFamily="34" charset="0"/>
            </a:endParaRPr>
          </a:p>
          <a:p>
            <a:endParaRPr lang="fi-FI"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CC8459-3E5D-836F-1756-39E35845B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6</a:t>
            </a:fld>
            <a:endParaRPr lang="fi-FI"/>
          </a:p>
        </p:txBody>
      </p:sp>
      <p:pic>
        <p:nvPicPr>
          <p:cNvPr id="58" name="Picture Placeholder 57" descr="A person pushing a person in a wheelchair&#10;&#10;Description automatically generated with medium confidence">
            <a:extLst>
              <a:ext uri="{FF2B5EF4-FFF2-40B4-BE49-F238E27FC236}">
                <a16:creationId xmlns:a16="http://schemas.microsoft.com/office/drawing/2014/main" id="{586E05ED-3CEE-E1FA-2D03-D25B98D5E0AF}"/>
              </a:ext>
            </a:extLst>
          </p:cNvPr>
          <p:cNvPicPr>
            <a:picLocks noGrp="1" noChangeAspect="1"/>
          </p:cNvPicPr>
          <p:nvPr>
            <p:ph type="pic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879" t="-31590" r="-37166" b="-51"/>
          <a:stretch/>
        </p:blipFill>
        <p:spPr>
          <a:xfrm>
            <a:off x="941427" y="-1"/>
            <a:ext cx="4995416" cy="6198113"/>
          </a:xfr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E6721ED-2FD9-EFBF-55D3-9AA0315888F2}"/>
              </a:ext>
            </a:extLst>
          </p:cNvPr>
          <p:cNvSpPr txBox="1">
            <a:spLocks/>
          </p:cNvSpPr>
          <p:nvPr/>
        </p:nvSpPr>
        <p:spPr>
          <a:xfrm>
            <a:off x="2850143" y="1204146"/>
            <a:ext cx="2927202" cy="18123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 err="1">
                <a:latin typeface="+mn-lt"/>
                <a:cs typeface="Calibri" panose="020F0502020204030204" pitchFamily="34" charset="0"/>
              </a:rPr>
              <a:t>Viranomaisten</a:t>
            </a:r>
            <a:r>
              <a:rPr lang="en-GB" sz="1600" b="1">
                <a:latin typeface="+mn-lt"/>
                <a:cs typeface="Calibri" panose="020F0502020204030204" pitchFamily="34" charset="0"/>
              </a:rPr>
              <a:t> </a:t>
            </a:r>
            <a:r>
              <a:rPr lang="en-GB" sz="1600" b="1" err="1">
                <a:latin typeface="+mn-lt"/>
                <a:cs typeface="Calibri" panose="020F0502020204030204" pitchFamily="34" charset="0"/>
              </a:rPr>
              <a:t>apu</a:t>
            </a:r>
            <a:r>
              <a:rPr lang="en-GB" sz="1600" b="1">
                <a:latin typeface="+mn-lt"/>
                <a:cs typeface="Calibri" panose="020F0502020204030204" pitchFamily="34" charset="0"/>
              </a:rPr>
              <a:t> </a:t>
            </a:r>
            <a:r>
              <a:rPr lang="en-GB" sz="1600" b="1" err="1">
                <a:latin typeface="+mn-lt"/>
                <a:cs typeface="Calibri" panose="020F0502020204030204" pitchFamily="34" charset="0"/>
              </a:rPr>
              <a:t>ja</a:t>
            </a:r>
            <a:r>
              <a:rPr lang="en-GB" sz="1600" b="1">
                <a:latin typeface="+mn-lt"/>
                <a:cs typeface="Calibri" panose="020F0502020204030204" pitchFamily="34" charset="0"/>
              </a:rPr>
              <a:t> </a:t>
            </a:r>
            <a:r>
              <a:rPr lang="en-GB" sz="1600" b="1" err="1">
                <a:latin typeface="+mn-lt"/>
                <a:cs typeface="Calibri" panose="020F0502020204030204" pitchFamily="34" charset="0"/>
              </a:rPr>
              <a:t>yhteistyö</a:t>
            </a:r>
            <a:r>
              <a:rPr lang="en-GB" sz="1600" b="1">
                <a:latin typeface="+mn-lt"/>
                <a:cs typeface="Calibri" panose="020F0502020204030204" pitchFamily="34" charset="0"/>
              </a:rPr>
              <a:t> </a:t>
            </a:r>
            <a:r>
              <a:rPr lang="en-GB" sz="1600" b="1" err="1">
                <a:latin typeface="+mn-lt"/>
                <a:cs typeface="Calibri" panose="020F0502020204030204" pitchFamily="34" charset="0"/>
              </a:rPr>
              <a:t>näkyvämmäksi</a:t>
            </a:r>
            <a:r>
              <a:rPr lang="en-GB" sz="1600" b="1">
                <a:latin typeface="+mn-lt"/>
                <a:cs typeface="Calibri" panose="020F0502020204030204" pitchFamily="34" charset="0"/>
              </a:rPr>
              <a:t>. </a:t>
            </a:r>
            <a:r>
              <a:rPr lang="en-GB" sz="1600" b="1" err="1">
                <a:latin typeface="+mn-lt"/>
                <a:cs typeface="Calibri" panose="020F0502020204030204" pitchFamily="34" charset="0"/>
              </a:rPr>
              <a:t>Esim</a:t>
            </a:r>
            <a:r>
              <a:rPr lang="en-GB" sz="1600" b="1">
                <a:latin typeface="+mn-lt"/>
                <a:cs typeface="Calibri" panose="020F0502020204030204" pitchFamily="34" charset="0"/>
              </a:rPr>
              <a:t>. </a:t>
            </a:r>
            <a:r>
              <a:rPr lang="en-GB" sz="1600" b="1" err="1">
                <a:latin typeface="+mn-lt"/>
                <a:cs typeface="Calibri" panose="020F0502020204030204" pitchFamily="34" charset="0"/>
              </a:rPr>
              <a:t>remonttituki</a:t>
            </a:r>
            <a:r>
              <a:rPr lang="en-GB" sz="1600" b="1">
                <a:latin typeface="+mn-lt"/>
                <a:cs typeface="Calibri" panose="020F0502020204030204" pitchFamily="34" charset="0"/>
              </a:rPr>
              <a:t>. </a:t>
            </a:r>
            <a:br>
              <a:rPr lang="en-GB" sz="1600" b="1">
                <a:latin typeface="+mn-lt"/>
                <a:cs typeface="Calibri" panose="020F0502020204030204" pitchFamily="34" charset="0"/>
              </a:rPr>
            </a:br>
            <a:r>
              <a:rPr lang="en-GB" sz="1600" b="1">
                <a:latin typeface="+mn-lt"/>
                <a:cs typeface="Calibri" panose="020F0502020204030204" pitchFamily="34" charset="0"/>
              </a:rPr>
              <a:t>Moni </a:t>
            </a:r>
            <a:r>
              <a:rPr lang="en-GB" sz="1600" b="1" err="1">
                <a:latin typeface="+mn-lt"/>
                <a:cs typeface="Calibri" panose="020F0502020204030204" pitchFamily="34" charset="0"/>
              </a:rPr>
              <a:t>ei</a:t>
            </a:r>
            <a:r>
              <a:rPr lang="en-GB" sz="1600" b="1">
                <a:latin typeface="+mn-lt"/>
                <a:cs typeface="Calibri" panose="020F0502020204030204" pitchFamily="34" charset="0"/>
              </a:rPr>
              <a:t> </a:t>
            </a:r>
            <a:r>
              <a:rPr lang="en-GB" sz="1600" b="1" err="1">
                <a:latin typeface="+mn-lt"/>
                <a:cs typeface="Calibri" panose="020F0502020204030204" pitchFamily="34" charset="0"/>
              </a:rPr>
              <a:t>edes</a:t>
            </a:r>
            <a:r>
              <a:rPr lang="en-GB" sz="1600" b="1">
                <a:latin typeface="+mn-lt"/>
                <a:cs typeface="Calibri" panose="020F0502020204030204" pitchFamily="34" charset="0"/>
              </a:rPr>
              <a:t> </a:t>
            </a:r>
            <a:r>
              <a:rPr lang="en-GB" sz="1600" b="1" err="1">
                <a:latin typeface="+mn-lt"/>
                <a:cs typeface="Calibri" panose="020F0502020204030204" pitchFamily="34" charset="0"/>
              </a:rPr>
              <a:t>tiedä</a:t>
            </a:r>
            <a:r>
              <a:rPr lang="en-GB" sz="1600" b="1">
                <a:latin typeface="+mn-lt"/>
                <a:cs typeface="Calibri" panose="020F0502020204030204" pitchFamily="34" charset="0"/>
              </a:rPr>
              <a:t> </a:t>
            </a:r>
            <a:r>
              <a:rPr lang="en-GB" sz="1600" b="1" err="1">
                <a:latin typeface="+mn-lt"/>
                <a:cs typeface="Calibri" panose="020F0502020204030204" pitchFamily="34" charset="0"/>
              </a:rPr>
              <a:t>siitä</a:t>
            </a:r>
            <a:r>
              <a:rPr lang="en-GB" sz="1600" b="1">
                <a:latin typeface="+mn-lt"/>
                <a:cs typeface="Calibri" panose="020F0502020204030204" pitchFamily="34" charset="0"/>
              </a:rPr>
              <a:t>.</a:t>
            </a:r>
          </a:p>
          <a:p>
            <a:r>
              <a:rPr lang="en-GB" sz="1400">
                <a:latin typeface="+mn-lt"/>
                <a:cs typeface="Calibri" panose="020F0502020204030204" pitchFamily="34" charset="0"/>
              </a:rPr>
              <a:t>– </a:t>
            </a:r>
            <a:r>
              <a:rPr lang="en-GB" sz="1400" err="1">
                <a:latin typeface="+mn-lt"/>
                <a:cs typeface="Calibri" panose="020F0502020204030204" pitchFamily="34" charset="0"/>
              </a:rPr>
              <a:t>Ikäihminen</a:t>
            </a:r>
            <a:endParaRPr lang="en-GB" sz="1400">
              <a:latin typeface="+mn-lt"/>
              <a:cs typeface="Calibri" panose="020F0502020204030204" pitchFamily="34" charset="0"/>
            </a:endParaRPr>
          </a:p>
        </p:txBody>
      </p:sp>
      <p:pic>
        <p:nvPicPr>
          <p:cNvPr id="8" name="Graphic 7" descr="Open quotation mark with solid fill">
            <a:extLst>
              <a:ext uri="{FF2B5EF4-FFF2-40B4-BE49-F238E27FC236}">
                <a16:creationId xmlns:a16="http://schemas.microsoft.com/office/drawing/2014/main" id="{96C28703-ECEA-31DE-A5AE-1932B36810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800000">
            <a:off x="2794723" y="509138"/>
            <a:ext cx="731837" cy="731837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AA321D-E077-EC84-931C-13C97AE595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Johdanto</a:t>
            </a:r>
          </a:p>
        </p:txBody>
      </p:sp>
    </p:spTree>
    <p:extLst>
      <p:ext uri="{BB962C8B-B14F-4D97-AF65-F5344CB8AC3E}">
        <p14:creationId xmlns:p14="http://schemas.microsoft.com/office/powerpoint/2010/main" val="14434096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7BB06E-1D60-60EB-9F1D-1AE368283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z="36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edon lisäämistä tarvitaan mm. rahallisesta tuesta, apuvälineistä ja asumisen vaihtoehdoista</a:t>
            </a:r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0AC17B-6ED2-C549-387C-A72F02A850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Johdant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2EDACA-6017-8D2D-95C2-E385BE5217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7</a:t>
            </a:fld>
            <a:endParaRPr lang="fi-FI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C96EC1C1-6B17-6059-542E-3083B8649DC8}"/>
              </a:ext>
            </a:extLst>
          </p:cNvPr>
          <p:cNvSpPr/>
          <p:nvPr/>
        </p:nvSpPr>
        <p:spPr>
          <a:xfrm>
            <a:off x="470389" y="2411346"/>
            <a:ext cx="3528026" cy="4265813"/>
          </a:xfrm>
          <a:prstGeom prst="roundRect">
            <a:avLst>
              <a:gd name="adj" fmla="val 0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7AABFA0-04F3-5B3D-B2B0-17B1D52F55B7}"/>
              </a:ext>
            </a:extLst>
          </p:cNvPr>
          <p:cNvSpPr txBox="1">
            <a:spLocks/>
          </p:cNvSpPr>
          <p:nvPr/>
        </p:nvSpPr>
        <p:spPr>
          <a:xfrm>
            <a:off x="687463" y="2554632"/>
            <a:ext cx="3093879" cy="97000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i-FI" sz="2000" b="1">
                <a:solidFill>
                  <a:schemeClr val="tx1"/>
                </a:solidFill>
                <a:latin typeface="+mn-lt"/>
                <a:cs typeface="Calibri"/>
              </a:rPr>
              <a:t>Saatavilla olevien tukien hyödyntäminen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ED064CD0-B194-23C8-DBD4-6BE25DC09413}"/>
              </a:ext>
            </a:extLst>
          </p:cNvPr>
          <p:cNvSpPr/>
          <p:nvPr/>
        </p:nvSpPr>
        <p:spPr>
          <a:xfrm>
            <a:off x="4325779" y="2411346"/>
            <a:ext cx="3397070" cy="4265813"/>
          </a:xfrm>
          <a:prstGeom prst="roundRect">
            <a:avLst>
              <a:gd name="adj" fmla="val 0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A27060D-7564-AD81-B5F2-B7CC4B74EEF0}"/>
              </a:ext>
            </a:extLst>
          </p:cNvPr>
          <p:cNvSpPr txBox="1">
            <a:spLocks/>
          </p:cNvSpPr>
          <p:nvPr/>
        </p:nvSpPr>
        <p:spPr>
          <a:xfrm>
            <a:off x="4423060" y="2554632"/>
            <a:ext cx="3174124" cy="9700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i-FI" sz="2000" b="1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Ikäystävällisempi </a:t>
            </a:r>
            <a:br>
              <a:rPr lang="fi-FI" sz="2000" b="1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</a:br>
            <a:r>
              <a:rPr lang="fi-FI" sz="2000" b="1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koti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28C64A9E-1FCB-4BFE-89A5-273D947808A2}"/>
              </a:ext>
            </a:extLst>
          </p:cNvPr>
          <p:cNvSpPr/>
          <p:nvPr/>
        </p:nvSpPr>
        <p:spPr>
          <a:xfrm>
            <a:off x="8074342" y="2411346"/>
            <a:ext cx="3528026" cy="4265813"/>
          </a:xfrm>
          <a:prstGeom prst="roundRect">
            <a:avLst>
              <a:gd name="adj" fmla="val 0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197CBDD-796B-FFC3-FEC1-DF1089B69C22}"/>
              </a:ext>
            </a:extLst>
          </p:cNvPr>
          <p:cNvSpPr txBox="1">
            <a:spLocks/>
          </p:cNvSpPr>
          <p:nvPr/>
        </p:nvSpPr>
        <p:spPr>
          <a:xfrm>
            <a:off x="8145515" y="2554632"/>
            <a:ext cx="3385681" cy="9700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i-FI" sz="2000" b="1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t>Olla kotona "niin kauan kuin mahdollista".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8E6F8E4-E94A-98E8-E07F-40A78C2F18C8}"/>
              </a:ext>
            </a:extLst>
          </p:cNvPr>
          <p:cNvSpPr txBox="1">
            <a:spLocks/>
          </p:cNvSpPr>
          <p:nvPr/>
        </p:nvSpPr>
        <p:spPr>
          <a:xfrm>
            <a:off x="4492621" y="3485513"/>
            <a:ext cx="3035002" cy="9700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i-FI" sz="1600">
                <a:solidFill>
                  <a:schemeClr val="tx1"/>
                </a:solidFill>
                <a:latin typeface="+mn-lt"/>
              </a:rPr>
              <a:t>Asunnon muuttaminen turvalliseksi ja esteettömäksi.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C911E01B-C0E1-84C2-B1C7-EBACAA69B3B8}"/>
              </a:ext>
            </a:extLst>
          </p:cNvPr>
          <p:cNvSpPr txBox="1">
            <a:spLocks/>
          </p:cNvSpPr>
          <p:nvPr/>
        </p:nvSpPr>
        <p:spPr>
          <a:xfrm>
            <a:off x="470389" y="3485513"/>
            <a:ext cx="3528026" cy="195947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i-FI" sz="1600">
                <a:solidFill>
                  <a:schemeClr val="tx1"/>
                </a:solidFill>
                <a:latin typeface="+mn-lt"/>
                <a:cs typeface="Calibri Light"/>
              </a:rPr>
              <a:t>Pienituloisuuden ja “säntillisyyden” huomioiminen ja tietoisuuden lisääminen tukimuodoista ja apuvälineistä.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964C941-089C-4E6F-E7AE-DDED40E71C1A}"/>
              </a:ext>
            </a:extLst>
          </p:cNvPr>
          <p:cNvSpPr txBox="1">
            <a:spLocks/>
          </p:cNvSpPr>
          <p:nvPr/>
        </p:nvSpPr>
        <p:spPr>
          <a:xfrm>
            <a:off x="8074342" y="3485513"/>
            <a:ext cx="3528027" cy="14512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i-FI" sz="1600">
                <a:solidFill>
                  <a:schemeClr val="tx1"/>
                </a:solidFill>
                <a:latin typeface="+mn-lt"/>
              </a:rPr>
              <a:t>Tietoa asumisen vaihtoehdoista. Turvallisuuden tunne ja kunnioitus tulisi säilyä eri asumisen ratkaisuissa.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F1933BF1-07A3-5E63-FB38-C6A924C375C9}"/>
              </a:ext>
            </a:extLst>
          </p:cNvPr>
          <p:cNvSpPr txBox="1">
            <a:spLocks/>
          </p:cNvSpPr>
          <p:nvPr/>
        </p:nvSpPr>
        <p:spPr>
          <a:xfrm>
            <a:off x="4246110" y="5151489"/>
            <a:ext cx="3528025" cy="9700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i-FI" sz="1600" i="1">
                <a:latin typeface="+mn-lt"/>
              </a:rPr>
              <a:t>Asumisneuvontaa, miten pienellä remontilla lisätään kotona-asumista; poistetaan ovia, kynnyksiä, korotetaan sänkyjä, tukikahvoja.</a:t>
            </a:r>
          </a:p>
          <a:p>
            <a:pPr algn="ctr"/>
            <a:r>
              <a:rPr lang="fi-FI" sz="1200" i="1">
                <a:latin typeface="+mn-lt"/>
              </a:rPr>
              <a:t>–Ikäihminen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D9355F8-D931-FA4A-92DE-34F96F95A2D8}"/>
              </a:ext>
            </a:extLst>
          </p:cNvPr>
          <p:cNvSpPr txBox="1">
            <a:spLocks/>
          </p:cNvSpPr>
          <p:nvPr/>
        </p:nvSpPr>
        <p:spPr>
          <a:xfrm>
            <a:off x="664582" y="5151489"/>
            <a:ext cx="3139640" cy="9700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i-FI" sz="1600" i="1">
                <a:latin typeface="+mn-lt"/>
              </a:rPr>
              <a:t>Vanhukset on niin säntillisiä, he mieluummin maksavat laskut, eivätkä sitten syö, kun ei rahat riitä.</a:t>
            </a:r>
          </a:p>
          <a:p>
            <a:pPr algn="ctr"/>
            <a:r>
              <a:rPr lang="fi-FI" sz="1200" i="1">
                <a:latin typeface="+mn-lt"/>
              </a:rPr>
              <a:t>–Ikäihmisen läheinen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8ECF5A4E-D315-740B-E733-193694E8D02B}"/>
              </a:ext>
            </a:extLst>
          </p:cNvPr>
          <p:cNvSpPr txBox="1">
            <a:spLocks/>
          </p:cNvSpPr>
          <p:nvPr/>
        </p:nvSpPr>
        <p:spPr>
          <a:xfrm>
            <a:off x="8320854" y="5151489"/>
            <a:ext cx="3035002" cy="97000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8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i-FI" sz="1600" i="1">
                <a:latin typeface="+mn-lt"/>
                <a:cs typeface="Calibri Light"/>
              </a:rPr>
              <a:t>Ikäihmiset on osa yhteiskuntaa ja on palvelujen käyttäjiä, että arvokas vanhuus pitäisi kaikille taata. Ja se kohtelu.</a:t>
            </a:r>
          </a:p>
          <a:p>
            <a:pPr algn="ctr"/>
            <a:r>
              <a:rPr lang="fi-FI" sz="1200" i="1">
                <a:latin typeface="+mn-lt"/>
              </a:rPr>
              <a:t>–Ikäihmisen läheinen</a:t>
            </a:r>
          </a:p>
        </p:txBody>
      </p:sp>
      <p:pic>
        <p:nvPicPr>
          <p:cNvPr id="20" name="Graphic 19" descr="Open quotation mark with solid fill">
            <a:extLst>
              <a:ext uri="{FF2B5EF4-FFF2-40B4-BE49-F238E27FC236}">
                <a16:creationId xmlns:a16="http://schemas.microsoft.com/office/drawing/2014/main" id="{CC6E19B9-9549-F613-F4FA-4D3CEA5370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1883810" y="4541574"/>
            <a:ext cx="701185" cy="701185"/>
          </a:xfrm>
          <a:prstGeom prst="rect">
            <a:avLst/>
          </a:prstGeom>
        </p:spPr>
      </p:pic>
      <p:pic>
        <p:nvPicPr>
          <p:cNvPr id="21" name="Graphic 20" descr="Open quotation mark with solid fill">
            <a:extLst>
              <a:ext uri="{FF2B5EF4-FFF2-40B4-BE49-F238E27FC236}">
                <a16:creationId xmlns:a16="http://schemas.microsoft.com/office/drawing/2014/main" id="{AB886B85-9410-8B2D-66EF-6E07B38616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5659530" y="4541574"/>
            <a:ext cx="701185" cy="701185"/>
          </a:xfrm>
          <a:prstGeom prst="rect">
            <a:avLst/>
          </a:prstGeom>
        </p:spPr>
      </p:pic>
      <p:pic>
        <p:nvPicPr>
          <p:cNvPr id="22" name="Graphic 21" descr="Open quotation mark with solid fill">
            <a:extLst>
              <a:ext uri="{FF2B5EF4-FFF2-40B4-BE49-F238E27FC236}">
                <a16:creationId xmlns:a16="http://schemas.microsoft.com/office/drawing/2014/main" id="{F93F6094-D386-5A74-C157-A209ABE0C6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0800000">
            <a:off x="9487763" y="4541574"/>
            <a:ext cx="701185" cy="701185"/>
          </a:xfrm>
          <a:prstGeom prst="rect">
            <a:avLst/>
          </a:prstGeom>
        </p:spPr>
      </p:pic>
      <p:sp>
        <p:nvSpPr>
          <p:cNvPr id="23" name="Oval 22">
            <a:extLst>
              <a:ext uri="{FF2B5EF4-FFF2-40B4-BE49-F238E27FC236}">
                <a16:creationId xmlns:a16="http://schemas.microsoft.com/office/drawing/2014/main" id="{1B16C2D0-3373-728E-9D39-D393A1954744}"/>
              </a:ext>
            </a:extLst>
          </p:cNvPr>
          <p:cNvSpPr/>
          <p:nvPr/>
        </p:nvSpPr>
        <p:spPr>
          <a:xfrm>
            <a:off x="324283" y="2219838"/>
            <a:ext cx="509286" cy="50928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2891B60C-759D-4E3E-B8C4-E9A3B0F8B9FC}"/>
              </a:ext>
            </a:extLst>
          </p:cNvPr>
          <p:cNvSpPr/>
          <p:nvPr/>
        </p:nvSpPr>
        <p:spPr>
          <a:xfrm>
            <a:off x="4110837" y="2219838"/>
            <a:ext cx="509286" cy="50928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4CD0E6E-06D5-B674-C2B0-40BDB014648F}"/>
              </a:ext>
            </a:extLst>
          </p:cNvPr>
          <p:cNvSpPr/>
          <p:nvPr/>
        </p:nvSpPr>
        <p:spPr>
          <a:xfrm>
            <a:off x="7897391" y="2219838"/>
            <a:ext cx="509286" cy="50928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>
                <a:solidFill>
                  <a:schemeClr val="tx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0426003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A2813E-5398-DC1D-4B29-A77220829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858" y="2564431"/>
            <a:ext cx="10515600" cy="2160000"/>
          </a:xfrm>
        </p:spPr>
        <p:txBody>
          <a:bodyPr/>
          <a:lstStyle/>
          <a:p>
            <a:r>
              <a:rPr lang="fi-FI" sz="4400">
                <a:solidFill>
                  <a:schemeClr val="tx1"/>
                </a:solidFill>
              </a:rPr>
              <a:t>Oppaan suunnittelu</a:t>
            </a:r>
            <a:endParaRPr lang="fi-FI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4DE259-1340-0467-4638-1575B3A154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461264" y="4962736"/>
            <a:ext cx="7269472" cy="2160000"/>
          </a:xfrm>
        </p:spPr>
        <p:txBody>
          <a:bodyPr/>
          <a:lstStyle/>
          <a:p>
            <a:pPr marL="0" lvl="1" algn="ctr"/>
            <a:r>
              <a:rPr lang="fi-FI" sz="1800">
                <a:solidFill>
                  <a:schemeClr val="tx1"/>
                </a:solidFill>
              </a:rPr>
              <a:t>Oppaan sisällön suunnittelu tehtiin yhdessä ikäihmisten ja asiakasohjaajien kanssa. Metodina käytettiin työpajatyöskentelyä. Työpajat järjestettiin Siilinjärvellä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9021639-5C55-32FE-7B31-BF5B187CEC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pPr/>
              <a:t>8</a:t>
            </a:fld>
            <a:endParaRPr lang="fi-FI"/>
          </a:p>
        </p:txBody>
      </p:sp>
      <p:pic>
        <p:nvPicPr>
          <p:cNvPr id="11" name="Picture 10" descr="A picture containing clipart, graphics, symbol, cartoon&#10;&#10;Description automatically generated">
            <a:extLst>
              <a:ext uri="{FF2B5EF4-FFF2-40B4-BE49-F238E27FC236}">
                <a16:creationId xmlns:a16="http://schemas.microsoft.com/office/drawing/2014/main" id="{BDA81008-C881-3A7C-E0BE-595482C5179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5103" y="625229"/>
            <a:ext cx="3401793" cy="3401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7775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itle 53">
            <a:extLst>
              <a:ext uri="{FF2B5EF4-FFF2-40B4-BE49-F238E27FC236}">
                <a16:creationId xmlns:a16="http://schemas.microsoft.com/office/drawing/2014/main" id="{DA942C11-FC75-108C-FD91-1589DB8B38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2741" y="3869046"/>
            <a:ext cx="4599785" cy="1472950"/>
          </a:xfrm>
        </p:spPr>
        <p:txBody>
          <a:bodyPr/>
          <a:lstStyle/>
          <a:p>
            <a:r>
              <a:rPr lang="fi-FI" sz="2400"/>
              <a:t>Asiakasohjaajien työpaja</a:t>
            </a:r>
            <a:endParaRPr lang="fi-FI" sz="240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3B0F68C1-7D8E-BA18-1FB4-B4F4F7D642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02634" y="4605521"/>
            <a:ext cx="2976836" cy="3474302"/>
          </a:xfrm>
        </p:spPr>
        <p:txBody>
          <a:bodyPr/>
          <a:lstStyle/>
          <a:p>
            <a:pPr marL="0" indent="0">
              <a:buNone/>
            </a:pPr>
            <a:r>
              <a:rPr lang="en-FI" sz="1800" b="0"/>
              <a:t>A</a:t>
            </a:r>
            <a:r>
              <a:rPr lang="en-GB" sz="1800" b="0" err="1"/>
              <a:t>i</a:t>
            </a:r>
            <a:r>
              <a:rPr lang="en-FI" sz="1800" b="0"/>
              <a:t>heena käsiteltiin:</a:t>
            </a:r>
          </a:p>
          <a:p>
            <a:pPr marL="0" indent="0">
              <a:buNone/>
            </a:pPr>
            <a:r>
              <a:rPr lang="en-FI" sz="1800" b="0"/>
              <a:t>Kokemuksia, tavoitteet, sisältö, formaatti, markkinointi ja huomiot työstöön</a:t>
            </a:r>
            <a:br>
              <a:rPr lang="en-FI" sz="1800" b="0"/>
            </a:br>
            <a:br>
              <a:rPr lang="en-FI" sz="1800" b="0"/>
            </a:br>
            <a:endParaRPr lang="fi-FI"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CC8459-3E5D-836F-1756-39E35845B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D26548-A701-4132-A0A2-A9B09A70FF4B}" type="slidenum">
              <a:rPr lang="fi-FI" smtClean="0"/>
              <a:t>9</a:t>
            </a:fld>
            <a:endParaRPr lang="fi-FI"/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74435656-8339-D13E-3B14-10CCC1B90E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3635" y="180841"/>
            <a:ext cx="5158408" cy="365125"/>
          </a:xfrm>
        </p:spPr>
        <p:txBody>
          <a:bodyPr/>
          <a:lstStyle/>
          <a:p>
            <a:r>
              <a:rPr lang="fi-FI" sz="1000">
                <a:solidFill>
                  <a:schemeClr val="tx1"/>
                </a:solidFill>
              </a:rPr>
              <a:t>Oppaan suunnittelu</a:t>
            </a:r>
            <a:endParaRPr lang="fi-FI"/>
          </a:p>
        </p:txBody>
      </p:sp>
      <p:sp>
        <p:nvSpPr>
          <p:cNvPr id="8" name="Title 53">
            <a:extLst>
              <a:ext uri="{FF2B5EF4-FFF2-40B4-BE49-F238E27FC236}">
                <a16:creationId xmlns:a16="http://schemas.microsoft.com/office/drawing/2014/main" id="{5E7414D0-988C-E73A-A8B0-F401650E8339}"/>
              </a:ext>
            </a:extLst>
          </p:cNvPr>
          <p:cNvSpPr txBox="1">
            <a:spLocks/>
          </p:cNvSpPr>
          <p:nvPr/>
        </p:nvSpPr>
        <p:spPr>
          <a:xfrm>
            <a:off x="6602741" y="918187"/>
            <a:ext cx="4599785" cy="1472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7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i-FI" sz="2400"/>
              <a:t>Ikäihmisten työpaja</a:t>
            </a:r>
            <a:endParaRPr lang="fi-FI" sz="2400">
              <a:latin typeface="+mn-lt"/>
              <a:cs typeface="Arial" panose="020B0604020202020204" pitchFamily="34" charset="0"/>
            </a:endParaRPr>
          </a:p>
        </p:txBody>
      </p:sp>
      <p:sp>
        <p:nvSpPr>
          <p:cNvPr id="9" name="Content Placeholder 13">
            <a:extLst>
              <a:ext uri="{FF2B5EF4-FFF2-40B4-BE49-F238E27FC236}">
                <a16:creationId xmlns:a16="http://schemas.microsoft.com/office/drawing/2014/main" id="{D23E7ABC-339C-9B79-1F97-77974646ED1D}"/>
              </a:ext>
            </a:extLst>
          </p:cNvPr>
          <p:cNvSpPr txBox="1">
            <a:spLocks/>
          </p:cNvSpPr>
          <p:nvPr/>
        </p:nvSpPr>
        <p:spPr>
          <a:xfrm>
            <a:off x="8902634" y="1867694"/>
            <a:ext cx="2846022" cy="34743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00000" indent="-1793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260000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62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98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4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0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FI"/>
              <a:t>A</a:t>
            </a:r>
            <a:r>
              <a:rPr lang="en-GB" err="1"/>
              <a:t>i</a:t>
            </a:r>
            <a:r>
              <a:rPr lang="en-FI"/>
              <a:t>heena käsiteltiin:</a:t>
            </a:r>
            <a:br>
              <a:rPr lang="en-FI"/>
            </a:br>
            <a:r>
              <a:rPr lang="en-FI" sz="1800" b="0"/>
              <a:t>Kokemuksia</a:t>
            </a:r>
            <a:r>
              <a:rPr lang="en-FI"/>
              <a:t>, t</a:t>
            </a:r>
            <a:r>
              <a:rPr lang="en-FI" sz="1800" b="0"/>
              <a:t>avoitteet, sisältö, formaatti ja tyyli, markkinointi</a:t>
            </a:r>
            <a:br>
              <a:rPr lang="en-FI"/>
            </a:br>
            <a:endParaRPr lang="fi-FI">
              <a:cs typeface="Arial" panose="020B060402020202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EAF71A3-E343-F0CF-B605-F1C5DB0DAA28}"/>
              </a:ext>
            </a:extLst>
          </p:cNvPr>
          <p:cNvSpPr/>
          <p:nvPr/>
        </p:nvSpPr>
        <p:spPr>
          <a:xfrm>
            <a:off x="6602742" y="1516005"/>
            <a:ext cx="1912996" cy="191299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0000"/>
              </a:lnSpc>
            </a:pPr>
            <a:r>
              <a:rPr lang="fi-FI" sz="7000" b="1">
                <a:solidFill>
                  <a:schemeClr val="tx1"/>
                </a:solidFill>
              </a:rPr>
              <a:t>8</a:t>
            </a:r>
            <a:r>
              <a:rPr lang="fi-FI" sz="2000" b="1">
                <a:solidFill>
                  <a:schemeClr val="tx1"/>
                </a:solidFill>
              </a:rPr>
              <a:t> </a:t>
            </a:r>
            <a:r>
              <a:rPr lang="fi-FI" sz="1600" b="1">
                <a:solidFill>
                  <a:schemeClr val="tx1"/>
                </a:solidFill>
              </a:rPr>
              <a:t>osallistujaa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888A4CCB-287F-A6B0-8815-DE32DA86669F}"/>
              </a:ext>
            </a:extLst>
          </p:cNvPr>
          <p:cNvSpPr/>
          <p:nvPr/>
        </p:nvSpPr>
        <p:spPr>
          <a:xfrm>
            <a:off x="6602742" y="4397751"/>
            <a:ext cx="1912996" cy="191299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0000"/>
              </a:lnSpc>
            </a:pPr>
            <a:r>
              <a:rPr lang="fi-FI" sz="7000" b="1">
                <a:solidFill>
                  <a:schemeClr val="tx1"/>
                </a:solidFill>
              </a:rPr>
              <a:t>4</a:t>
            </a:r>
            <a:r>
              <a:rPr lang="fi-FI" sz="2000" b="1">
                <a:solidFill>
                  <a:schemeClr val="tx1"/>
                </a:solidFill>
              </a:rPr>
              <a:t> </a:t>
            </a:r>
            <a:r>
              <a:rPr lang="fi-FI" sz="1600" b="1">
                <a:solidFill>
                  <a:schemeClr val="tx1"/>
                </a:solidFill>
              </a:rPr>
              <a:t>osallistujaa</a:t>
            </a:r>
          </a:p>
        </p:txBody>
      </p:sp>
      <p:pic>
        <p:nvPicPr>
          <p:cNvPr id="16" name="Picture Placeholder 15" descr="A picture containing clipart, illustration, drawing, animated cartoon&#10;&#10;Description automatically generated">
            <a:extLst>
              <a:ext uri="{FF2B5EF4-FFF2-40B4-BE49-F238E27FC236}">
                <a16:creationId xmlns:a16="http://schemas.microsoft.com/office/drawing/2014/main" id="{DC827BC9-5221-F49B-61EB-44928B66732A}"/>
              </a:ext>
            </a:extLst>
          </p:cNvPr>
          <p:cNvPicPr>
            <a:picLocks noGrp="1" noChangeAspect="1"/>
          </p:cNvPicPr>
          <p:nvPr>
            <p:ph type="pic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-6625" r="-16387" b="9762"/>
          <a:stretch/>
        </p:blipFill>
        <p:spPr>
          <a:xfrm>
            <a:off x="1" y="949191"/>
            <a:ext cx="6254774" cy="4960626"/>
          </a:xfrm>
        </p:spPr>
      </p:pic>
    </p:spTree>
    <p:extLst>
      <p:ext uri="{BB962C8B-B14F-4D97-AF65-F5344CB8AC3E}">
        <p14:creationId xmlns:p14="http://schemas.microsoft.com/office/powerpoint/2010/main" val="2364816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blij2lWAZjhDwAWm5O7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FXWh6eIUjfp4tYhw_g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blij2lWAZjhDwAWm5O7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dBus8PhdqDzP2spH_W8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FXWh6eIUjfp4tYhw_g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FXWh6eIUjfp4tYhw_g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FXWh6eIUjfp4tYhw_g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FXWh6eIUjfp4tYhw_gV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FXWh6eIUjfp4tYhw_gV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FXWh6eIUjfp4tYhw_gV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FXWh6eIUjfp4tYhw_g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LATwkG0KxxCOlgpZRhp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FXWh6eIUjfp4tYhw_g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WgzCL6VssVo7.GIfOS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dBus8PhdqDzP2spH_W8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FXWh6eIUjfp4tYhw_g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blij2lWAZjhDwAWm5O7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LATwkG0KxxCOlgpZRh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WgzCL6VssVo7.GIfOSa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dBus8PhdqDzP2spH_W8Q"/>
</p:tagLst>
</file>

<file path=ppt/theme/theme1.xml><?xml version="1.0" encoding="utf-8"?>
<a:theme xmlns:a="http://schemas.openxmlformats.org/drawingml/2006/main" name="Office-teema">
  <a:themeElements>
    <a:clrScheme name="PSHVA värit 2022 1">
      <a:dk1>
        <a:sysClr val="windowText" lastClr="000000"/>
      </a:dk1>
      <a:lt1>
        <a:sysClr val="window" lastClr="FFFFFF"/>
      </a:lt1>
      <a:dk2>
        <a:srgbClr val="313131"/>
      </a:dk2>
      <a:lt2>
        <a:srgbClr val="FFCF29"/>
      </a:lt2>
      <a:accent1>
        <a:srgbClr val="75A1FF"/>
      </a:accent1>
      <a:accent2>
        <a:srgbClr val="868651"/>
      </a:accent2>
      <a:accent3>
        <a:srgbClr val="0A3DB2"/>
      </a:accent3>
      <a:accent4>
        <a:srgbClr val="B28C0A"/>
      </a:accent4>
      <a:accent5>
        <a:srgbClr val="E37373"/>
      </a:accent5>
      <a:accent6>
        <a:srgbClr val="660AB2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SHVA eistysmalli 2022.potx" id="{189B9DB4-F788-4E91-A846-9089C82C0207}" vid="{D73C99CC-FDC3-4412-9B12-9554CACAA3A1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4369831-9f78-4771-8dba-e3134e7307a5" xsi:nil="true"/>
    <lcf76f155ced4ddcb4097134ff3c332f xmlns="9daac407-df8e-46cb-a686-dd6d56fce843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C13BA46858B94A4E91340DEF4459FDFD" ma:contentTypeVersion="12" ma:contentTypeDescription="Luo uusi asiakirja." ma:contentTypeScope="" ma:versionID="907500f0cc0566881539218eecdf204c">
  <xsd:schema xmlns:xsd="http://www.w3.org/2001/XMLSchema" xmlns:xs="http://www.w3.org/2001/XMLSchema" xmlns:p="http://schemas.microsoft.com/office/2006/metadata/properties" xmlns:ns2="9daac407-df8e-46cb-a686-dd6d56fce843" xmlns:ns3="e4369831-9f78-4771-8dba-e3134e7307a5" targetNamespace="http://schemas.microsoft.com/office/2006/metadata/properties" ma:root="true" ma:fieldsID="3330711e7624abc90c115e025b2e2383" ns2:_="" ns3:_="">
    <xsd:import namespace="9daac407-df8e-46cb-a686-dd6d56fce843"/>
    <xsd:import namespace="e4369831-9f78-4771-8dba-e3134e7307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aac407-df8e-46cb-a686-dd6d56fce84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2" nillable="true" ma:displayName="Location" ma:indexed="true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Kuvien tunnisteet" ma:readOnly="false" ma:fieldId="{5cf76f15-5ced-4ddc-b409-7134ff3c332f}" ma:taxonomyMulti="true" ma:sspId="73764342-c798-4929-aad6-1f2e01c9b1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369831-9f78-4771-8dba-e3134e7307a5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f8f57940-0923-41f0-b853-40859f259ce8}" ma:internalName="TaxCatchAll" ma:showField="CatchAllData" ma:web="e4369831-9f78-4771-8dba-e3134e7307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45823E7-AF32-467F-9189-4099B33CF3B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7A357C9-6907-4354-948C-612A2818A859}">
  <ds:schemaRefs>
    <ds:schemaRef ds:uri="37a4133b-656e-47e2-84cc-1e88c367d88e"/>
    <ds:schemaRef ds:uri="484c8c59-755d-4516-b8d2-1621b38262b4"/>
    <ds:schemaRef ds:uri="7a5e03f2-d3da-45dd-963a-a6da8d1bbce7"/>
    <ds:schemaRef ds:uri="9daac407-df8e-46cb-a686-dd6d56fce843"/>
    <ds:schemaRef ds:uri="e4369831-9f78-4771-8dba-e3134e7307a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A42CBEC-706E-4809-BAA9-522AB0C19847}">
  <ds:schemaRefs>
    <ds:schemaRef ds:uri="9daac407-df8e-46cb-a686-dd6d56fce843"/>
    <ds:schemaRef ds:uri="e4369831-9f78-4771-8dba-e3134e7307a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SHVA esitysmalli 2022</Template>
  <TotalTime>0</TotalTime>
  <Words>2411</Words>
  <Application>Microsoft Macintosh PowerPoint</Application>
  <PresentationFormat>Widescreen</PresentationFormat>
  <Paragraphs>472</Paragraphs>
  <Slides>4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50" baseType="lpstr">
      <vt:lpstr>Arial</vt:lpstr>
      <vt:lpstr>Calibri</vt:lpstr>
      <vt:lpstr>Helvetica</vt:lpstr>
      <vt:lpstr>Verdana</vt:lpstr>
      <vt:lpstr>Office-teema</vt:lpstr>
      <vt:lpstr>Opas asumisen ratkaisuista ikäihmisille​ Pohjois-Savon hyvinvointialueelle  ​</vt:lpstr>
      <vt:lpstr>Sisältö</vt:lpstr>
      <vt:lpstr>Johdanto</vt:lpstr>
      <vt:lpstr>Työn vaiheet</vt:lpstr>
      <vt:lpstr>Näkökulmia</vt:lpstr>
      <vt:lpstr>2022 tehdyssä projektissa Siilinjärvelle (Moderni yhteisöllisyys) nousi tarve tiedon lisäämisestä  </vt:lpstr>
      <vt:lpstr>Tiedon lisäämistä tarvitaan mm. rahallisesta tuesta, apuvälineistä ja asumisen vaihtoehdoista</vt:lpstr>
      <vt:lpstr>Oppaan suunnittelu</vt:lpstr>
      <vt:lpstr>Asiakasohjaajien työpaja</vt:lpstr>
      <vt:lpstr>Työpajassa tunnistetut tavoitteet ja tarpeet oppaalle</vt:lpstr>
      <vt:lpstr>Ikäihmisten ja ammattilaisten ajatuksia oppaan sisällöistä​</vt:lpstr>
      <vt:lpstr>Olemassa olevat materiaalit, joita oppaassa voidaan hyödyntää</vt:lpstr>
      <vt:lpstr>Tunnistettuja kompastuskiviä</vt:lpstr>
      <vt:lpstr>Oppaan suunnittelu: tyyli ja tunnelma</vt:lpstr>
      <vt:lpstr>Millainen oppaan tunnelma ja tyyli on?</vt:lpstr>
      <vt:lpstr>Millainen oppaan tunnelma ja tyyli on?</vt:lpstr>
      <vt:lpstr>Millainen oppaan tunnelma ja tyyli on?</vt:lpstr>
      <vt:lpstr>Millainen oppaan tunnelma ja tyyli on?</vt:lpstr>
      <vt:lpstr>Oppaan suunnittelu: formaatti</vt:lpstr>
      <vt:lpstr>PowerPoint Presentation</vt:lpstr>
      <vt:lpstr>Oppaan suunnittelu: markkinointi</vt:lpstr>
      <vt:lpstr>Oppaan markkinointi</vt:lpstr>
      <vt:lpstr>Oppaan arviointi</vt:lpstr>
      <vt:lpstr>Kysely</vt:lpstr>
      <vt:lpstr>Kyselyn kautta annettu palaute saavutti ammattilaisia paremmin, kuin ikäihmisiä ja läheisiä</vt:lpstr>
      <vt:lpstr>Opasta pidettiin vähintään melko hyödyllisenä kaikissa vastaajakategorioissa</vt:lpstr>
      <vt:lpstr>Opasta pidettiin vähintään melko selkeänä kaikissa vastaajakategorioissa</vt:lpstr>
      <vt:lpstr>Pääsääntöisesti kaikissa vastaajakategorioissa oltiin tyytyväisiä oppaassa olevan tiedon määrään </vt:lpstr>
      <vt:lpstr>Suurin osa vastaajista oli sitä mieltä että tietoa ei jääty kaipaamaan, mutta muutamat aiheet nostettiin esille</vt:lpstr>
      <vt:lpstr>Oppaan luonnokselle annettiin pääsääntöisesti hyviä arvosanoja</vt:lpstr>
      <vt:lpstr>Opas sai kiitosta selkeydestä, hyvästä luettavuudesta ja esimerkkitapauksista</vt:lpstr>
      <vt:lpstr>Parannusehdotuksia ikäihmisiltä ja läheisiltä</vt:lpstr>
      <vt:lpstr>PowerPoint Presentation</vt:lpstr>
      <vt:lpstr>Työn tulokse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Verkko-oppaasta slaidia tähän</vt:lpstr>
      <vt:lpstr>Verkko-oppaasta slaidia tähän</vt:lpstr>
      <vt:lpstr>Ideat ja huomiot  jatkokehitykseen</vt:lpstr>
      <vt:lpstr>Tiedon ajantasaisuus ja oppaan jatkotyöstö</vt:lpstr>
      <vt:lpstr>Ideoita jatkotyöstöä varte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Savolainen Henni</dc:creator>
  <cp:lastModifiedBy>Maria Okkonen</cp:lastModifiedBy>
  <cp:revision>2</cp:revision>
  <dcterms:created xsi:type="dcterms:W3CDTF">2022-05-19T04:42:31Z</dcterms:created>
  <dcterms:modified xsi:type="dcterms:W3CDTF">2023-06-21T07:45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0295627-d38a-4f78-9e2b-6e054e7c2abe_Enabled">
    <vt:lpwstr>True</vt:lpwstr>
  </property>
  <property fmtid="{D5CDD505-2E9C-101B-9397-08002B2CF9AE}" pid="3" name="MSIP_Label_b0295627-d38a-4f78-9e2b-6e054e7c2abe_SiteId">
    <vt:lpwstr>e4fe067b-23eb-4679-8fd5-938ea7d95911</vt:lpwstr>
  </property>
  <property fmtid="{D5CDD505-2E9C-101B-9397-08002B2CF9AE}" pid="4" name="MSIP_Label_b0295627-d38a-4f78-9e2b-6e054e7c2abe_Owner">
    <vt:lpwstr>auli.rissanen@istekki.fi</vt:lpwstr>
  </property>
  <property fmtid="{D5CDD505-2E9C-101B-9397-08002B2CF9AE}" pid="5" name="MSIP_Label_b0295627-d38a-4f78-9e2b-6e054e7c2abe_SetDate">
    <vt:lpwstr>2022-05-04T09:17:50.7249842Z</vt:lpwstr>
  </property>
  <property fmtid="{D5CDD505-2E9C-101B-9397-08002B2CF9AE}" pid="6" name="MSIP_Label_b0295627-d38a-4f78-9e2b-6e054e7c2abe_Name">
    <vt:lpwstr>Public</vt:lpwstr>
  </property>
  <property fmtid="{D5CDD505-2E9C-101B-9397-08002B2CF9AE}" pid="7" name="MSIP_Label_b0295627-d38a-4f78-9e2b-6e054e7c2abe_Application">
    <vt:lpwstr>Microsoft Azure Information Protection</vt:lpwstr>
  </property>
  <property fmtid="{D5CDD505-2E9C-101B-9397-08002B2CF9AE}" pid="8" name="MSIP_Label_b0295627-d38a-4f78-9e2b-6e054e7c2abe_Extended_MSFT_Method">
    <vt:lpwstr>Manual</vt:lpwstr>
  </property>
  <property fmtid="{D5CDD505-2E9C-101B-9397-08002B2CF9AE}" pid="9" name="Sensitivity">
    <vt:lpwstr>Public</vt:lpwstr>
  </property>
  <property fmtid="{D5CDD505-2E9C-101B-9397-08002B2CF9AE}" pid="10" name="ContentTypeId">
    <vt:lpwstr>0x010100C13BA46858B94A4E91340DEF4459FDFD</vt:lpwstr>
  </property>
  <property fmtid="{D5CDD505-2E9C-101B-9397-08002B2CF9AE}" pid="11" name="MediaServiceImageTags">
    <vt:lpwstr/>
  </property>
</Properties>
</file>